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8" r:id="rId1"/>
  </p:sldMasterIdLst>
  <p:notesMasterIdLst>
    <p:notesMasterId r:id="rId18"/>
  </p:notesMasterIdLst>
  <p:handoutMasterIdLst>
    <p:handoutMasterId r:id="rId19"/>
  </p:handoutMasterIdLst>
  <p:sldIdLst>
    <p:sldId id="365" r:id="rId2"/>
    <p:sldId id="369" r:id="rId3"/>
    <p:sldId id="370" r:id="rId4"/>
    <p:sldId id="371" r:id="rId5"/>
    <p:sldId id="372" r:id="rId6"/>
    <p:sldId id="373" r:id="rId7"/>
    <p:sldId id="374" r:id="rId8"/>
    <p:sldId id="375" r:id="rId9"/>
    <p:sldId id="376" r:id="rId10"/>
    <p:sldId id="377" r:id="rId11"/>
    <p:sldId id="378" r:id="rId12"/>
    <p:sldId id="379" r:id="rId13"/>
    <p:sldId id="380" r:id="rId14"/>
    <p:sldId id="381" r:id="rId15"/>
    <p:sldId id="382" r:id="rId16"/>
    <p:sldId id="279"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61A5"/>
    <a:srgbClr val="125C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0F8015-452F-48BE-BFAC-3B393D8E78FA}" v="5" dt="2024-01-02T13:30:58.65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778" autoAdjust="0"/>
  </p:normalViewPr>
  <p:slideViewPr>
    <p:cSldViewPr>
      <p:cViewPr varScale="1">
        <p:scale>
          <a:sx n="104" d="100"/>
          <a:sy n="104" d="100"/>
        </p:scale>
        <p:origin x="144" y="2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P - Sonja Heynen-Pianka" userId="be06f938-f672-4a6f-92da-83ac3f6030d5" providerId="ADAL" clId="{020F8015-452F-48BE-BFAC-3B393D8E78FA}"/>
    <pc:docChg chg="custSel addSld delSld modSld modMainMaster modNotesMaster">
      <pc:chgData name="SP - Sonja Heynen-Pianka" userId="be06f938-f672-4a6f-92da-83ac3f6030d5" providerId="ADAL" clId="{020F8015-452F-48BE-BFAC-3B393D8E78FA}" dt="2024-01-02T13:31:01.576" v="15" actId="47"/>
      <pc:docMkLst>
        <pc:docMk/>
      </pc:docMkLst>
      <pc:sldChg chg="add">
        <pc:chgData name="SP - Sonja Heynen-Pianka" userId="be06f938-f672-4a6f-92da-83ac3f6030d5" providerId="ADAL" clId="{020F8015-452F-48BE-BFAC-3B393D8E78FA}" dt="2024-01-02T13:30:58.652" v="14"/>
        <pc:sldMkLst>
          <pc:docMk/>
          <pc:sldMk cId="105830616" sldId="279"/>
        </pc:sldMkLst>
      </pc:sldChg>
      <pc:sldChg chg="addSp delSp modSp mod modClrScheme chgLayout modNotes">
        <pc:chgData name="SP - Sonja Heynen-Pianka" userId="be06f938-f672-4a6f-92da-83ac3f6030d5" providerId="ADAL" clId="{020F8015-452F-48BE-BFAC-3B393D8E78FA}" dt="2024-01-02T13:30:02.268" v="13"/>
        <pc:sldMkLst>
          <pc:docMk/>
          <pc:sldMk cId="2996014631" sldId="365"/>
        </pc:sldMkLst>
        <pc:spChg chg="add del mod ord">
          <ac:chgData name="SP - Sonja Heynen-Pianka" userId="be06f938-f672-4a6f-92da-83ac3f6030d5" providerId="ADAL" clId="{020F8015-452F-48BE-BFAC-3B393D8E78FA}" dt="2024-01-02T13:27:10.665" v="2" actId="931"/>
          <ac:spMkLst>
            <pc:docMk/>
            <pc:sldMk cId="2996014631" sldId="365"/>
            <ac:spMk id="2" creationId="{56CC8E32-93C4-8F60-3792-98F0D5FE3E51}"/>
          </ac:spMkLst>
        </pc:spChg>
        <pc:spChg chg="mod ord">
          <ac:chgData name="SP - Sonja Heynen-Pianka" userId="be06f938-f672-4a6f-92da-83ac3f6030d5" providerId="ADAL" clId="{020F8015-452F-48BE-BFAC-3B393D8E78FA}" dt="2024-01-02T13:20:08.173" v="1" actId="700"/>
          <ac:spMkLst>
            <pc:docMk/>
            <pc:sldMk cId="2996014631" sldId="365"/>
            <ac:spMk id="3" creationId="{00000000-0000-0000-0000-000000000000}"/>
          </ac:spMkLst>
        </pc:spChg>
        <pc:spChg chg="mod ord">
          <ac:chgData name="SP - Sonja Heynen-Pianka" userId="be06f938-f672-4a6f-92da-83ac3f6030d5" providerId="ADAL" clId="{020F8015-452F-48BE-BFAC-3B393D8E78FA}" dt="2024-01-02T13:20:08.173" v="1" actId="700"/>
          <ac:spMkLst>
            <pc:docMk/>
            <pc:sldMk cId="2996014631" sldId="365"/>
            <ac:spMk id="5" creationId="{00000000-0000-0000-0000-000000000000}"/>
          </ac:spMkLst>
        </pc:spChg>
        <pc:picChg chg="add mod">
          <ac:chgData name="SP - Sonja Heynen-Pianka" userId="be06f938-f672-4a6f-92da-83ac3f6030d5" providerId="ADAL" clId="{020F8015-452F-48BE-BFAC-3B393D8E78FA}" dt="2024-01-02T13:27:13.377" v="4" actId="962"/>
          <ac:picMkLst>
            <pc:docMk/>
            <pc:sldMk cId="2996014631" sldId="365"/>
            <ac:picMk id="6" creationId="{E5CFC9EA-E2B1-AC79-F8C0-AD4624F51747}"/>
          </ac:picMkLst>
        </pc:picChg>
      </pc:sldChg>
      <pc:sldChg chg="modSp del modNotes">
        <pc:chgData name="SP - Sonja Heynen-Pianka" userId="be06f938-f672-4a6f-92da-83ac3f6030d5" providerId="ADAL" clId="{020F8015-452F-48BE-BFAC-3B393D8E78FA}" dt="2024-01-02T13:31:01.576" v="15" actId="47"/>
        <pc:sldMkLst>
          <pc:docMk/>
          <pc:sldMk cId="3224146632" sldId="368"/>
        </pc:sldMkLst>
        <pc:spChg chg="mod">
          <ac:chgData name="SP - Sonja Heynen-Pianka" userId="be06f938-f672-4a6f-92da-83ac3f6030d5" providerId="ADAL" clId="{020F8015-452F-48BE-BFAC-3B393D8E78FA}" dt="2024-01-02T13:30:02.268" v="13"/>
          <ac:spMkLst>
            <pc:docMk/>
            <pc:sldMk cId="3224146632" sldId="368"/>
            <ac:spMk id="6" creationId="{00000000-0000-0000-0000-000000000000}"/>
          </ac:spMkLst>
        </pc:spChg>
      </pc:sldChg>
      <pc:sldChg chg="modSp">
        <pc:chgData name="SP - Sonja Heynen-Pianka" userId="be06f938-f672-4a6f-92da-83ac3f6030d5" providerId="ADAL" clId="{020F8015-452F-48BE-BFAC-3B393D8E78FA}" dt="2024-01-02T13:30:02.268" v="13"/>
        <pc:sldMkLst>
          <pc:docMk/>
          <pc:sldMk cId="1295815494" sldId="369"/>
        </pc:sldMkLst>
        <pc:spChg chg="mod">
          <ac:chgData name="SP - Sonja Heynen-Pianka" userId="be06f938-f672-4a6f-92da-83ac3f6030d5" providerId="ADAL" clId="{020F8015-452F-48BE-BFAC-3B393D8E78FA}" dt="2024-01-02T13:19:42.464" v="0"/>
          <ac:spMkLst>
            <pc:docMk/>
            <pc:sldMk cId="1295815494" sldId="369"/>
            <ac:spMk id="5" creationId="{00000000-0000-0000-0000-000000000000}"/>
          </ac:spMkLst>
        </pc:spChg>
        <pc:picChg chg="mod">
          <ac:chgData name="SP - Sonja Heynen-Pianka" userId="be06f938-f672-4a6f-92da-83ac3f6030d5" providerId="ADAL" clId="{020F8015-452F-48BE-BFAC-3B393D8E78FA}" dt="2024-01-02T13:30:02.268" v="13"/>
          <ac:picMkLst>
            <pc:docMk/>
            <pc:sldMk cId="1295815494" sldId="369"/>
            <ac:picMk id="6" creationId="{00000000-0000-0000-0000-000000000000}"/>
          </ac:picMkLst>
        </pc:picChg>
      </pc:sldChg>
      <pc:sldChg chg="modSp mod">
        <pc:chgData name="SP - Sonja Heynen-Pianka" userId="be06f938-f672-4a6f-92da-83ac3f6030d5" providerId="ADAL" clId="{020F8015-452F-48BE-BFAC-3B393D8E78FA}" dt="2024-01-02T13:30:02.268" v="13"/>
        <pc:sldMkLst>
          <pc:docMk/>
          <pc:sldMk cId="700287639" sldId="370"/>
        </pc:sldMkLst>
        <pc:spChg chg="mod">
          <ac:chgData name="SP - Sonja Heynen-Pianka" userId="be06f938-f672-4a6f-92da-83ac3f6030d5" providerId="ADAL" clId="{020F8015-452F-48BE-BFAC-3B393D8E78FA}" dt="2024-01-02T13:30:02.268" v="13"/>
          <ac:spMkLst>
            <pc:docMk/>
            <pc:sldMk cId="700287639" sldId="370"/>
            <ac:spMk id="2" creationId="{C7A45867-E906-49AA-9958-6A26FA91485B}"/>
          </ac:spMkLst>
        </pc:spChg>
        <pc:spChg chg="mod">
          <ac:chgData name="SP - Sonja Heynen-Pianka" userId="be06f938-f672-4a6f-92da-83ac3f6030d5" providerId="ADAL" clId="{020F8015-452F-48BE-BFAC-3B393D8E78FA}" dt="2024-01-02T13:19:42.464" v="0"/>
          <ac:spMkLst>
            <pc:docMk/>
            <pc:sldMk cId="700287639" sldId="370"/>
            <ac:spMk id="5" creationId="{00000000-0000-0000-0000-000000000000}"/>
          </ac:spMkLst>
        </pc:spChg>
        <pc:spChg chg="mod">
          <ac:chgData name="SP - Sonja Heynen-Pianka" userId="be06f938-f672-4a6f-92da-83ac3f6030d5" providerId="ADAL" clId="{020F8015-452F-48BE-BFAC-3B393D8E78FA}" dt="2024-01-02T13:30:02.268" v="13"/>
          <ac:spMkLst>
            <pc:docMk/>
            <pc:sldMk cId="700287639" sldId="370"/>
            <ac:spMk id="12" creationId="{49B21D24-921B-D4F6-48DD-93CDCB7D8686}"/>
          </ac:spMkLst>
        </pc:spChg>
        <pc:picChg chg="mod">
          <ac:chgData name="SP - Sonja Heynen-Pianka" userId="be06f938-f672-4a6f-92da-83ac3f6030d5" providerId="ADAL" clId="{020F8015-452F-48BE-BFAC-3B393D8E78FA}" dt="2024-01-02T13:30:02.268" v="13"/>
          <ac:picMkLst>
            <pc:docMk/>
            <pc:sldMk cId="700287639" sldId="370"/>
            <ac:picMk id="11" creationId="{8C561FD5-09E9-C471-094E-AD97B5459FA9}"/>
          </ac:picMkLst>
        </pc:picChg>
      </pc:sldChg>
      <pc:sldChg chg="modSp">
        <pc:chgData name="SP - Sonja Heynen-Pianka" userId="be06f938-f672-4a6f-92da-83ac3f6030d5" providerId="ADAL" clId="{020F8015-452F-48BE-BFAC-3B393D8E78FA}" dt="2024-01-02T13:30:02.268" v="13"/>
        <pc:sldMkLst>
          <pc:docMk/>
          <pc:sldMk cId="1031207394" sldId="371"/>
        </pc:sldMkLst>
        <pc:spChg chg="mod">
          <ac:chgData name="SP - Sonja Heynen-Pianka" userId="be06f938-f672-4a6f-92da-83ac3f6030d5" providerId="ADAL" clId="{020F8015-452F-48BE-BFAC-3B393D8E78FA}" dt="2024-01-02T13:30:02.268" v="13"/>
          <ac:spMkLst>
            <pc:docMk/>
            <pc:sldMk cId="1031207394" sldId="371"/>
            <ac:spMk id="2" creationId="{74D5F33C-1829-4BEA-8F76-29011D64534B}"/>
          </ac:spMkLst>
        </pc:spChg>
        <pc:spChg chg="mod">
          <ac:chgData name="SP - Sonja Heynen-Pianka" userId="be06f938-f672-4a6f-92da-83ac3f6030d5" providerId="ADAL" clId="{020F8015-452F-48BE-BFAC-3B393D8E78FA}" dt="2024-01-02T13:19:42.464" v="0"/>
          <ac:spMkLst>
            <pc:docMk/>
            <pc:sldMk cId="1031207394" sldId="371"/>
            <ac:spMk id="4" creationId="{221DC0E2-DD8E-F986-9F3F-125AF682AB91}"/>
          </ac:spMkLst>
        </pc:spChg>
        <pc:spChg chg="mod">
          <ac:chgData name="SP - Sonja Heynen-Pianka" userId="be06f938-f672-4a6f-92da-83ac3f6030d5" providerId="ADAL" clId="{020F8015-452F-48BE-BFAC-3B393D8E78FA}" dt="2024-01-02T13:19:42.464" v="0"/>
          <ac:spMkLst>
            <pc:docMk/>
            <pc:sldMk cId="1031207394" sldId="371"/>
            <ac:spMk id="5" creationId="{00000000-0000-0000-0000-000000000000}"/>
          </ac:spMkLst>
        </pc:spChg>
        <pc:picChg chg="mod">
          <ac:chgData name="SP - Sonja Heynen-Pianka" userId="be06f938-f672-4a6f-92da-83ac3f6030d5" providerId="ADAL" clId="{020F8015-452F-48BE-BFAC-3B393D8E78FA}" dt="2024-01-02T13:30:02.268" v="13"/>
          <ac:picMkLst>
            <pc:docMk/>
            <pc:sldMk cId="1031207394" sldId="371"/>
            <ac:picMk id="9" creationId="{DC06C669-CD70-1C37-9AB7-0A0ACBF425AC}"/>
          </ac:picMkLst>
        </pc:picChg>
      </pc:sldChg>
      <pc:sldChg chg="modSp">
        <pc:chgData name="SP - Sonja Heynen-Pianka" userId="be06f938-f672-4a6f-92da-83ac3f6030d5" providerId="ADAL" clId="{020F8015-452F-48BE-BFAC-3B393D8E78FA}" dt="2024-01-02T13:30:02.268" v="13"/>
        <pc:sldMkLst>
          <pc:docMk/>
          <pc:sldMk cId="703955951" sldId="372"/>
        </pc:sldMkLst>
        <pc:spChg chg="mod">
          <ac:chgData name="SP - Sonja Heynen-Pianka" userId="be06f938-f672-4a6f-92da-83ac3f6030d5" providerId="ADAL" clId="{020F8015-452F-48BE-BFAC-3B393D8E78FA}" dt="2024-01-02T13:19:42.464" v="0"/>
          <ac:spMkLst>
            <pc:docMk/>
            <pc:sldMk cId="703955951" sldId="372"/>
            <ac:spMk id="5"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7"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8"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11"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12"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13"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14" creationId="{00000000-0000-0000-0000-000000000000}"/>
          </ac:spMkLst>
        </pc:spChg>
        <pc:spChg chg="mod">
          <ac:chgData name="SP - Sonja Heynen-Pianka" userId="be06f938-f672-4a6f-92da-83ac3f6030d5" providerId="ADAL" clId="{020F8015-452F-48BE-BFAC-3B393D8E78FA}" dt="2024-01-02T13:30:02.268" v="13"/>
          <ac:spMkLst>
            <pc:docMk/>
            <pc:sldMk cId="703955951" sldId="372"/>
            <ac:spMk id="15" creationId="{00000000-0000-0000-0000-000000000000}"/>
          </ac:spMkLst>
        </pc:spChg>
        <pc:grpChg chg="mod">
          <ac:chgData name="SP - Sonja Heynen-Pianka" userId="be06f938-f672-4a6f-92da-83ac3f6030d5" providerId="ADAL" clId="{020F8015-452F-48BE-BFAC-3B393D8E78FA}" dt="2024-01-02T13:30:02.268" v="13"/>
          <ac:grpSpMkLst>
            <pc:docMk/>
            <pc:sldMk cId="703955951" sldId="372"/>
            <ac:grpSpMk id="6" creationId="{00000000-0000-0000-0000-000000000000}"/>
          </ac:grpSpMkLst>
        </pc:grpChg>
        <pc:grpChg chg="mod">
          <ac:chgData name="SP - Sonja Heynen-Pianka" userId="be06f938-f672-4a6f-92da-83ac3f6030d5" providerId="ADAL" clId="{020F8015-452F-48BE-BFAC-3B393D8E78FA}" dt="2024-01-02T13:30:02.268" v="13"/>
          <ac:grpSpMkLst>
            <pc:docMk/>
            <pc:sldMk cId="703955951" sldId="372"/>
            <ac:grpSpMk id="9" creationId="{00000000-0000-0000-0000-000000000000}"/>
          </ac:grpSpMkLst>
        </pc:grpChg>
        <pc:grpChg chg="mod">
          <ac:chgData name="SP - Sonja Heynen-Pianka" userId="be06f938-f672-4a6f-92da-83ac3f6030d5" providerId="ADAL" clId="{020F8015-452F-48BE-BFAC-3B393D8E78FA}" dt="2024-01-02T13:30:02.268" v="13"/>
          <ac:grpSpMkLst>
            <pc:docMk/>
            <pc:sldMk cId="703955951" sldId="372"/>
            <ac:grpSpMk id="10" creationId="{00000000-0000-0000-0000-000000000000}"/>
          </ac:grpSpMkLst>
        </pc:grpChg>
        <pc:grpChg chg="mod">
          <ac:chgData name="SP - Sonja Heynen-Pianka" userId="be06f938-f672-4a6f-92da-83ac3f6030d5" providerId="ADAL" clId="{020F8015-452F-48BE-BFAC-3B393D8E78FA}" dt="2024-01-02T13:30:02.268" v="13"/>
          <ac:grpSpMkLst>
            <pc:docMk/>
            <pc:sldMk cId="703955951" sldId="372"/>
            <ac:grpSpMk id="16" creationId="{00000000-0000-0000-0000-000000000000}"/>
          </ac:grpSpMkLst>
        </pc:grpChg>
        <pc:graphicFrameChg chg="mod">
          <ac:chgData name="SP - Sonja Heynen-Pianka" userId="be06f938-f672-4a6f-92da-83ac3f6030d5" providerId="ADAL" clId="{020F8015-452F-48BE-BFAC-3B393D8E78FA}" dt="2024-01-02T13:30:02.268" v="13"/>
          <ac:graphicFrameMkLst>
            <pc:docMk/>
            <pc:sldMk cId="703955951" sldId="372"/>
            <ac:graphicFrameMk id="17" creationId="{00000000-0000-0000-0000-000000000000}"/>
          </ac:graphicFrameMkLst>
        </pc:graphicFrameChg>
        <pc:graphicFrameChg chg="mod">
          <ac:chgData name="SP - Sonja Heynen-Pianka" userId="be06f938-f672-4a6f-92da-83ac3f6030d5" providerId="ADAL" clId="{020F8015-452F-48BE-BFAC-3B393D8E78FA}" dt="2024-01-02T13:30:02.268" v="13"/>
          <ac:graphicFrameMkLst>
            <pc:docMk/>
            <pc:sldMk cId="703955951" sldId="372"/>
            <ac:graphicFrameMk id="18" creationId="{00000000-0000-0000-0000-000000000000}"/>
          </ac:graphicFrameMkLst>
        </pc:graphicFrameChg>
        <pc:picChg chg="mod">
          <ac:chgData name="SP - Sonja Heynen-Pianka" userId="be06f938-f672-4a6f-92da-83ac3f6030d5" providerId="ADAL" clId="{020F8015-452F-48BE-BFAC-3B393D8E78FA}" dt="2024-01-02T13:30:02.268" v="13"/>
          <ac:picMkLst>
            <pc:docMk/>
            <pc:sldMk cId="703955951" sldId="372"/>
            <ac:picMk id="21" creationId="{00000000-0000-0000-0000-000000000000}"/>
          </ac:picMkLst>
        </pc:picChg>
        <pc:cxnChg chg="mod">
          <ac:chgData name="SP - Sonja Heynen-Pianka" userId="be06f938-f672-4a6f-92da-83ac3f6030d5" providerId="ADAL" clId="{020F8015-452F-48BE-BFAC-3B393D8E78FA}" dt="2024-01-02T13:30:02.268" v="13"/>
          <ac:cxnSpMkLst>
            <pc:docMk/>
            <pc:sldMk cId="703955951" sldId="372"/>
            <ac:cxnSpMk id="19" creationId="{00000000-0000-0000-0000-000000000000}"/>
          </ac:cxnSpMkLst>
        </pc:cxnChg>
        <pc:cxnChg chg="mod">
          <ac:chgData name="SP - Sonja Heynen-Pianka" userId="be06f938-f672-4a6f-92da-83ac3f6030d5" providerId="ADAL" clId="{020F8015-452F-48BE-BFAC-3B393D8E78FA}" dt="2024-01-02T13:30:02.268" v="13"/>
          <ac:cxnSpMkLst>
            <pc:docMk/>
            <pc:sldMk cId="703955951" sldId="372"/>
            <ac:cxnSpMk id="20" creationId="{00000000-0000-0000-0000-000000000000}"/>
          </ac:cxnSpMkLst>
        </pc:cxnChg>
      </pc:sldChg>
      <pc:sldChg chg="modSp mod">
        <pc:chgData name="SP - Sonja Heynen-Pianka" userId="be06f938-f672-4a6f-92da-83ac3f6030d5" providerId="ADAL" clId="{020F8015-452F-48BE-BFAC-3B393D8E78FA}" dt="2024-01-02T13:30:02.268" v="13"/>
        <pc:sldMkLst>
          <pc:docMk/>
          <pc:sldMk cId="1989352324" sldId="373"/>
        </pc:sldMkLst>
        <pc:spChg chg="mod">
          <ac:chgData name="SP - Sonja Heynen-Pianka" userId="be06f938-f672-4a6f-92da-83ac3f6030d5" providerId="ADAL" clId="{020F8015-452F-48BE-BFAC-3B393D8E78FA}" dt="2024-01-02T13:30:02.268" v="13"/>
          <ac:spMkLst>
            <pc:docMk/>
            <pc:sldMk cId="1989352324" sldId="373"/>
            <ac:spMk id="6"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7"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8"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9"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10"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11"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47"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48"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49"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61"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62"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63" creationId="{00000000-0000-0000-0000-000000000000}"/>
          </ac:spMkLst>
        </pc:spChg>
        <pc:spChg chg="mod">
          <ac:chgData name="SP - Sonja Heynen-Pianka" userId="be06f938-f672-4a6f-92da-83ac3f6030d5" providerId="ADAL" clId="{020F8015-452F-48BE-BFAC-3B393D8E78FA}" dt="2024-01-02T13:19:42.464" v="0"/>
          <ac:spMkLst>
            <pc:docMk/>
            <pc:sldMk cId="1989352324" sldId="373"/>
            <ac:spMk id="25606"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25658" creationId="{00000000-0000-0000-0000-000000000000}"/>
          </ac:spMkLst>
        </pc:spChg>
        <pc:spChg chg="mod">
          <ac:chgData name="SP - Sonja Heynen-Pianka" userId="be06f938-f672-4a6f-92da-83ac3f6030d5" providerId="ADAL" clId="{020F8015-452F-48BE-BFAC-3B393D8E78FA}" dt="2024-01-02T13:30:02.268" v="13"/>
          <ac:spMkLst>
            <pc:docMk/>
            <pc:sldMk cId="1989352324" sldId="373"/>
            <ac:spMk id="25659" creationId="{00000000-0000-0000-0000-000000000000}"/>
          </ac:spMkLst>
        </pc:spChg>
        <pc:cxnChg chg="mod">
          <ac:chgData name="SP - Sonja Heynen-Pianka" userId="be06f938-f672-4a6f-92da-83ac3f6030d5" providerId="ADAL" clId="{020F8015-452F-48BE-BFAC-3B393D8E78FA}" dt="2024-01-02T13:30:02.268" v="13"/>
          <ac:cxnSpMkLst>
            <pc:docMk/>
            <pc:sldMk cId="1989352324" sldId="373"/>
            <ac:cxnSpMk id="25613"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4"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5"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6"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7"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8"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19"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0"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1"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2"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3"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4"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5"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6"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7"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8"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29"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0"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1"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2"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3"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4"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5"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6"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7"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8"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39"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0"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1"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2"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3"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4"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5"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6"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47"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1"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2"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3"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4"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5"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6" creationId="{00000000-0000-0000-0000-000000000000}"/>
          </ac:cxnSpMkLst>
        </pc:cxnChg>
        <pc:cxnChg chg="mod">
          <ac:chgData name="SP - Sonja Heynen-Pianka" userId="be06f938-f672-4a6f-92da-83ac3f6030d5" providerId="ADAL" clId="{020F8015-452F-48BE-BFAC-3B393D8E78FA}" dt="2024-01-02T13:30:02.268" v="13"/>
          <ac:cxnSpMkLst>
            <pc:docMk/>
            <pc:sldMk cId="1989352324" sldId="373"/>
            <ac:cxnSpMk id="25657" creationId="{00000000-0000-0000-0000-000000000000}"/>
          </ac:cxnSpMkLst>
        </pc:cxnChg>
      </pc:sldChg>
      <pc:sldChg chg="modSp">
        <pc:chgData name="SP - Sonja Heynen-Pianka" userId="be06f938-f672-4a6f-92da-83ac3f6030d5" providerId="ADAL" clId="{020F8015-452F-48BE-BFAC-3B393D8E78FA}" dt="2024-01-02T13:30:02.268" v="13"/>
        <pc:sldMkLst>
          <pc:docMk/>
          <pc:sldMk cId="1460654187" sldId="374"/>
        </pc:sldMkLst>
        <pc:spChg chg="mod">
          <ac:chgData name="SP - Sonja Heynen-Pianka" userId="be06f938-f672-4a6f-92da-83ac3f6030d5" providerId="ADAL" clId="{020F8015-452F-48BE-BFAC-3B393D8E78FA}" dt="2024-01-02T13:30:02.268" v="13"/>
          <ac:spMkLst>
            <pc:docMk/>
            <pc:sldMk cId="1460654187" sldId="374"/>
            <ac:spMk id="7"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8"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9"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10"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11"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12" creationId="{00000000-0000-0000-0000-000000000000}"/>
          </ac:spMkLst>
        </pc:spChg>
        <pc:spChg chg="mod">
          <ac:chgData name="SP - Sonja Heynen-Pianka" userId="be06f938-f672-4a6f-92da-83ac3f6030d5" providerId="ADAL" clId="{020F8015-452F-48BE-BFAC-3B393D8E78FA}" dt="2024-01-02T13:30:02.268" v="13"/>
          <ac:spMkLst>
            <pc:docMk/>
            <pc:sldMk cId="1460654187" sldId="374"/>
            <ac:spMk id="13" creationId="{00000000-0000-0000-0000-000000000000}"/>
          </ac:spMkLst>
        </pc:spChg>
        <pc:spChg chg="mod">
          <ac:chgData name="SP - Sonja Heynen-Pianka" userId="be06f938-f672-4a6f-92da-83ac3f6030d5" providerId="ADAL" clId="{020F8015-452F-48BE-BFAC-3B393D8E78FA}" dt="2024-01-02T13:19:42.464" v="0"/>
          <ac:spMkLst>
            <pc:docMk/>
            <pc:sldMk cId="1460654187" sldId="374"/>
            <ac:spMk id="26627" creationId="{00000000-0000-0000-0000-000000000000}"/>
          </ac:spMkLst>
        </pc:spChg>
        <pc:grpChg chg="mod">
          <ac:chgData name="SP - Sonja Heynen-Pianka" userId="be06f938-f672-4a6f-92da-83ac3f6030d5" providerId="ADAL" clId="{020F8015-452F-48BE-BFAC-3B393D8E78FA}" dt="2024-01-02T13:30:02.268" v="13"/>
          <ac:grpSpMkLst>
            <pc:docMk/>
            <pc:sldMk cId="1460654187" sldId="374"/>
            <ac:grpSpMk id="6" creationId="{00000000-0000-0000-0000-000000000000}"/>
          </ac:grpSpMkLst>
        </pc:grpChg>
      </pc:sldChg>
      <pc:sldChg chg="modSp">
        <pc:chgData name="SP - Sonja Heynen-Pianka" userId="be06f938-f672-4a6f-92da-83ac3f6030d5" providerId="ADAL" clId="{020F8015-452F-48BE-BFAC-3B393D8E78FA}" dt="2024-01-02T13:30:02.268" v="13"/>
        <pc:sldMkLst>
          <pc:docMk/>
          <pc:sldMk cId="6938620" sldId="375"/>
        </pc:sldMkLst>
        <pc:spChg chg="mod">
          <ac:chgData name="SP - Sonja Heynen-Pianka" userId="be06f938-f672-4a6f-92da-83ac3f6030d5" providerId="ADAL" clId="{020F8015-452F-48BE-BFAC-3B393D8E78FA}" dt="2024-01-02T13:30:02.268" v="13"/>
          <ac:spMkLst>
            <pc:docMk/>
            <pc:sldMk cId="6938620" sldId="375"/>
            <ac:spMk id="6"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7"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8"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9"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0"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1"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2"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3"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4"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5"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6" creationId="{00000000-0000-0000-0000-000000000000}"/>
          </ac:spMkLst>
        </pc:spChg>
        <pc:spChg chg="mod">
          <ac:chgData name="SP - Sonja Heynen-Pianka" userId="be06f938-f672-4a6f-92da-83ac3f6030d5" providerId="ADAL" clId="{020F8015-452F-48BE-BFAC-3B393D8E78FA}" dt="2024-01-02T13:30:02.268" v="13"/>
          <ac:spMkLst>
            <pc:docMk/>
            <pc:sldMk cId="6938620" sldId="375"/>
            <ac:spMk id="17" creationId="{00000000-0000-0000-0000-000000000000}"/>
          </ac:spMkLst>
        </pc:spChg>
        <pc:spChg chg="mod">
          <ac:chgData name="SP - Sonja Heynen-Pianka" userId="be06f938-f672-4a6f-92da-83ac3f6030d5" providerId="ADAL" clId="{020F8015-452F-48BE-BFAC-3B393D8E78FA}" dt="2024-01-02T13:19:42.464" v="0"/>
          <ac:spMkLst>
            <pc:docMk/>
            <pc:sldMk cId="6938620" sldId="375"/>
            <ac:spMk id="27652" creationId="{00000000-0000-0000-0000-000000000000}"/>
          </ac:spMkLst>
        </pc:spChg>
      </pc:sldChg>
      <pc:sldChg chg="modSp">
        <pc:chgData name="SP - Sonja Heynen-Pianka" userId="be06f938-f672-4a6f-92da-83ac3f6030d5" providerId="ADAL" clId="{020F8015-452F-48BE-BFAC-3B393D8E78FA}" dt="2024-01-02T13:30:02.268" v="13"/>
        <pc:sldMkLst>
          <pc:docMk/>
          <pc:sldMk cId="343886628" sldId="376"/>
        </pc:sldMkLst>
        <pc:spChg chg="mod">
          <ac:chgData name="SP - Sonja Heynen-Pianka" userId="be06f938-f672-4a6f-92da-83ac3f6030d5" providerId="ADAL" clId="{020F8015-452F-48BE-BFAC-3B393D8E78FA}" dt="2024-01-02T13:30:02.268" v="13"/>
          <ac:spMkLst>
            <pc:docMk/>
            <pc:sldMk cId="343886628" sldId="376"/>
            <ac:spMk id="2" creationId="{57FAECBF-CF4E-4920-AF1E-AE427AFEC064}"/>
          </ac:spMkLst>
        </pc:spChg>
        <pc:spChg chg="mod">
          <ac:chgData name="SP - Sonja Heynen-Pianka" userId="be06f938-f672-4a6f-92da-83ac3f6030d5" providerId="ADAL" clId="{020F8015-452F-48BE-BFAC-3B393D8E78FA}" dt="2024-01-02T13:19:42.464" v="0"/>
          <ac:spMkLst>
            <pc:docMk/>
            <pc:sldMk cId="343886628" sldId="376"/>
            <ac:spMk id="7" creationId="{F10E409C-2C87-4E15-B5B7-DBCF93FAF444}"/>
          </ac:spMkLst>
        </pc:spChg>
        <pc:spChg chg="mod">
          <ac:chgData name="SP - Sonja Heynen-Pianka" userId="be06f938-f672-4a6f-92da-83ac3f6030d5" providerId="ADAL" clId="{020F8015-452F-48BE-BFAC-3B393D8E78FA}" dt="2024-01-02T13:19:42.464" v="0"/>
          <ac:spMkLst>
            <pc:docMk/>
            <pc:sldMk cId="343886628" sldId="376"/>
            <ac:spMk id="28675" creationId="{00000000-0000-0000-0000-000000000000}"/>
          </ac:spMkLst>
        </pc:spChg>
        <pc:graphicFrameChg chg="mod">
          <ac:chgData name="SP - Sonja Heynen-Pianka" userId="be06f938-f672-4a6f-92da-83ac3f6030d5" providerId="ADAL" clId="{020F8015-452F-48BE-BFAC-3B393D8E78FA}" dt="2024-01-02T13:30:02.268" v="13"/>
          <ac:graphicFrameMkLst>
            <pc:docMk/>
            <pc:sldMk cId="343886628" sldId="376"/>
            <ac:graphicFrameMk id="6" creationId="{00000000-0000-0000-0000-000000000000}"/>
          </ac:graphicFrameMkLst>
        </pc:graphicFrameChg>
      </pc:sldChg>
      <pc:sldChg chg="modSp">
        <pc:chgData name="SP - Sonja Heynen-Pianka" userId="be06f938-f672-4a6f-92da-83ac3f6030d5" providerId="ADAL" clId="{020F8015-452F-48BE-BFAC-3B393D8E78FA}" dt="2024-01-02T13:30:02.268" v="13"/>
        <pc:sldMkLst>
          <pc:docMk/>
          <pc:sldMk cId="1853101996" sldId="377"/>
        </pc:sldMkLst>
        <pc:spChg chg="mod">
          <ac:chgData name="SP - Sonja Heynen-Pianka" userId="be06f938-f672-4a6f-92da-83ac3f6030d5" providerId="ADAL" clId="{020F8015-452F-48BE-BFAC-3B393D8E78FA}" dt="2024-01-02T13:30:02.268" v="13"/>
          <ac:spMkLst>
            <pc:docMk/>
            <pc:sldMk cId="1853101996" sldId="377"/>
            <ac:spMk id="2" creationId="{8915CF3D-1CA2-459D-B4F6-FBDF073063C8}"/>
          </ac:spMkLst>
        </pc:spChg>
        <pc:spChg chg="mod">
          <ac:chgData name="SP - Sonja Heynen-Pianka" userId="be06f938-f672-4a6f-92da-83ac3f6030d5" providerId="ADAL" clId="{020F8015-452F-48BE-BFAC-3B393D8E78FA}" dt="2024-01-02T13:30:02.268" v="13"/>
          <ac:spMkLst>
            <pc:docMk/>
            <pc:sldMk cId="1853101996" sldId="377"/>
            <ac:spMk id="3" creationId="{CD8D5FCD-43A9-475D-9066-B8DE83EBF5E7}"/>
          </ac:spMkLst>
        </pc:spChg>
        <pc:spChg chg="mod">
          <ac:chgData name="SP - Sonja Heynen-Pianka" userId="be06f938-f672-4a6f-92da-83ac3f6030d5" providerId="ADAL" clId="{020F8015-452F-48BE-BFAC-3B393D8E78FA}" dt="2024-01-02T13:30:02.268" v="13"/>
          <ac:spMkLst>
            <pc:docMk/>
            <pc:sldMk cId="1853101996" sldId="377"/>
            <ac:spMk id="7"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8"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9"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0"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1"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2"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3"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4"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5"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6"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7"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18" creationId="{00000000-0000-0000-0000-000000000000}"/>
          </ac:spMkLst>
        </pc:spChg>
        <pc:spChg chg="mod">
          <ac:chgData name="SP - Sonja Heynen-Pianka" userId="be06f938-f672-4a6f-92da-83ac3f6030d5" providerId="ADAL" clId="{020F8015-452F-48BE-BFAC-3B393D8E78FA}" dt="2024-01-02T13:19:42.464" v="0"/>
          <ac:spMkLst>
            <pc:docMk/>
            <pc:sldMk cId="1853101996" sldId="377"/>
            <ac:spMk id="29699" creationId="{00000000-0000-0000-0000-000000000000}"/>
          </ac:spMkLst>
        </pc:spChg>
        <pc:spChg chg="mod">
          <ac:chgData name="SP - Sonja Heynen-Pianka" userId="be06f938-f672-4a6f-92da-83ac3f6030d5" providerId="ADAL" clId="{020F8015-452F-48BE-BFAC-3B393D8E78FA}" dt="2024-01-02T13:30:02.268" v="13"/>
          <ac:spMkLst>
            <pc:docMk/>
            <pc:sldMk cId="1853101996" sldId="377"/>
            <ac:spMk id="29700" creationId="{00000000-0000-0000-0000-000000000000}"/>
          </ac:spMkLst>
        </pc:spChg>
        <pc:picChg chg="mod">
          <ac:chgData name="SP - Sonja Heynen-Pianka" userId="be06f938-f672-4a6f-92da-83ac3f6030d5" providerId="ADAL" clId="{020F8015-452F-48BE-BFAC-3B393D8E78FA}" dt="2024-01-02T13:30:02.268" v="13"/>
          <ac:picMkLst>
            <pc:docMk/>
            <pc:sldMk cId="1853101996" sldId="377"/>
            <ac:picMk id="6" creationId="{0BF3EA83-DF14-4BAC-BEA9-1138744B5EC7}"/>
          </ac:picMkLst>
        </pc:picChg>
      </pc:sldChg>
      <pc:sldChg chg="modSp">
        <pc:chgData name="SP - Sonja Heynen-Pianka" userId="be06f938-f672-4a6f-92da-83ac3f6030d5" providerId="ADAL" clId="{020F8015-452F-48BE-BFAC-3B393D8E78FA}" dt="2024-01-02T13:30:02.268" v="13"/>
        <pc:sldMkLst>
          <pc:docMk/>
          <pc:sldMk cId="253674535" sldId="378"/>
        </pc:sldMkLst>
        <pc:spChg chg="mod">
          <ac:chgData name="SP - Sonja Heynen-Pianka" userId="be06f938-f672-4a6f-92da-83ac3f6030d5" providerId="ADAL" clId="{020F8015-452F-48BE-BFAC-3B393D8E78FA}" dt="2024-01-02T13:30:02.268" v="13"/>
          <ac:spMkLst>
            <pc:docMk/>
            <pc:sldMk cId="253674535" sldId="378"/>
            <ac:spMk id="2" creationId="{00000000-0000-0000-0000-000000000000}"/>
          </ac:spMkLst>
        </pc:spChg>
        <pc:spChg chg="mod">
          <ac:chgData name="SP - Sonja Heynen-Pianka" userId="be06f938-f672-4a6f-92da-83ac3f6030d5" providerId="ADAL" clId="{020F8015-452F-48BE-BFAC-3B393D8E78FA}" dt="2024-01-02T13:30:02.268" v="13"/>
          <ac:spMkLst>
            <pc:docMk/>
            <pc:sldMk cId="253674535" sldId="378"/>
            <ac:spMk id="3" creationId="{579ED2A4-D5CF-4422-815E-F90B02244968}"/>
          </ac:spMkLst>
        </pc:spChg>
        <pc:spChg chg="mod">
          <ac:chgData name="SP - Sonja Heynen-Pianka" userId="be06f938-f672-4a6f-92da-83ac3f6030d5" providerId="ADAL" clId="{020F8015-452F-48BE-BFAC-3B393D8E78FA}" dt="2024-01-02T13:19:42.464" v="0"/>
          <ac:spMkLst>
            <pc:docMk/>
            <pc:sldMk cId="253674535" sldId="378"/>
            <ac:spMk id="30724" creationId="{00000000-0000-0000-0000-000000000000}"/>
          </ac:spMkLst>
        </pc:spChg>
        <pc:picChg chg="mod">
          <ac:chgData name="SP - Sonja Heynen-Pianka" userId="be06f938-f672-4a6f-92da-83ac3f6030d5" providerId="ADAL" clId="{020F8015-452F-48BE-BFAC-3B393D8E78FA}" dt="2024-01-02T13:30:02.268" v="13"/>
          <ac:picMkLst>
            <pc:docMk/>
            <pc:sldMk cId="253674535" sldId="378"/>
            <ac:picMk id="6" creationId="{B35BA1D9-2BC6-41AB-A90A-1CD6D9A5CEC8}"/>
          </ac:picMkLst>
        </pc:picChg>
      </pc:sldChg>
      <pc:sldChg chg="modSp">
        <pc:chgData name="SP - Sonja Heynen-Pianka" userId="be06f938-f672-4a6f-92da-83ac3f6030d5" providerId="ADAL" clId="{020F8015-452F-48BE-BFAC-3B393D8E78FA}" dt="2024-01-02T13:30:02.268" v="13"/>
        <pc:sldMkLst>
          <pc:docMk/>
          <pc:sldMk cId="1438865740" sldId="379"/>
        </pc:sldMkLst>
        <pc:spChg chg="mod">
          <ac:chgData name="SP - Sonja Heynen-Pianka" userId="be06f938-f672-4a6f-92da-83ac3f6030d5" providerId="ADAL" clId="{020F8015-452F-48BE-BFAC-3B393D8E78FA}" dt="2024-01-02T13:30:02.268" v="13"/>
          <ac:spMkLst>
            <pc:docMk/>
            <pc:sldMk cId="1438865740" sldId="379"/>
            <ac:spMk id="2" creationId="{00000000-0000-0000-0000-000000000000}"/>
          </ac:spMkLst>
        </pc:spChg>
        <pc:spChg chg="mod">
          <ac:chgData name="SP - Sonja Heynen-Pianka" userId="be06f938-f672-4a6f-92da-83ac3f6030d5" providerId="ADAL" clId="{020F8015-452F-48BE-BFAC-3B393D8E78FA}" dt="2024-01-02T13:30:02.268" v="13"/>
          <ac:spMkLst>
            <pc:docMk/>
            <pc:sldMk cId="1438865740" sldId="379"/>
            <ac:spMk id="9" creationId="{7D44D85E-79D2-4650-8730-95E56518B037}"/>
          </ac:spMkLst>
        </pc:spChg>
        <pc:spChg chg="mod">
          <ac:chgData name="SP - Sonja Heynen-Pianka" userId="be06f938-f672-4a6f-92da-83ac3f6030d5" providerId="ADAL" clId="{020F8015-452F-48BE-BFAC-3B393D8E78FA}" dt="2024-01-02T13:19:42.464" v="0"/>
          <ac:spMkLst>
            <pc:docMk/>
            <pc:sldMk cId="1438865740" sldId="379"/>
            <ac:spMk id="31748" creationId="{00000000-0000-0000-0000-000000000000}"/>
          </ac:spMkLst>
        </pc:spChg>
        <pc:picChg chg="mod">
          <ac:chgData name="SP - Sonja Heynen-Pianka" userId="be06f938-f672-4a6f-92da-83ac3f6030d5" providerId="ADAL" clId="{020F8015-452F-48BE-BFAC-3B393D8E78FA}" dt="2024-01-02T13:30:02.268" v="13"/>
          <ac:picMkLst>
            <pc:docMk/>
            <pc:sldMk cId="1438865740" sldId="379"/>
            <ac:picMk id="8" creationId="{B10217BF-5656-4CC8-BEB5-062E10F1C41B}"/>
          </ac:picMkLst>
        </pc:picChg>
      </pc:sldChg>
      <pc:sldChg chg="modSp">
        <pc:chgData name="SP - Sonja Heynen-Pianka" userId="be06f938-f672-4a6f-92da-83ac3f6030d5" providerId="ADAL" clId="{020F8015-452F-48BE-BFAC-3B393D8E78FA}" dt="2024-01-02T13:30:02.268" v="13"/>
        <pc:sldMkLst>
          <pc:docMk/>
          <pc:sldMk cId="680007057" sldId="380"/>
        </pc:sldMkLst>
        <pc:spChg chg="mod">
          <ac:chgData name="SP - Sonja Heynen-Pianka" userId="be06f938-f672-4a6f-92da-83ac3f6030d5" providerId="ADAL" clId="{020F8015-452F-48BE-BFAC-3B393D8E78FA}" dt="2024-01-02T13:30:02.268" v="13"/>
          <ac:spMkLst>
            <pc:docMk/>
            <pc:sldMk cId="680007057" sldId="380"/>
            <ac:spMk id="2" creationId="{00000000-0000-0000-0000-000000000000}"/>
          </ac:spMkLst>
        </pc:spChg>
        <pc:spChg chg="mod">
          <ac:chgData name="SP - Sonja Heynen-Pianka" userId="be06f938-f672-4a6f-92da-83ac3f6030d5" providerId="ADAL" clId="{020F8015-452F-48BE-BFAC-3B393D8E78FA}" dt="2024-01-02T13:30:02.268" v="13"/>
          <ac:spMkLst>
            <pc:docMk/>
            <pc:sldMk cId="680007057" sldId="380"/>
            <ac:spMk id="3" creationId="{48F344F0-21CB-43DC-A97E-962B03F8CF4D}"/>
          </ac:spMkLst>
        </pc:spChg>
        <pc:spChg chg="mod">
          <ac:chgData name="SP - Sonja Heynen-Pianka" userId="be06f938-f672-4a6f-92da-83ac3f6030d5" providerId="ADAL" clId="{020F8015-452F-48BE-BFAC-3B393D8E78FA}" dt="2024-01-02T13:19:42.464" v="0"/>
          <ac:spMkLst>
            <pc:docMk/>
            <pc:sldMk cId="680007057" sldId="380"/>
            <ac:spMk id="7" creationId="{18E5DF3A-7593-46F4-BBE6-531E1788814B}"/>
          </ac:spMkLst>
        </pc:spChg>
        <pc:spChg chg="mod">
          <ac:chgData name="SP - Sonja Heynen-Pianka" userId="be06f938-f672-4a6f-92da-83ac3f6030d5" providerId="ADAL" clId="{020F8015-452F-48BE-BFAC-3B393D8E78FA}" dt="2024-01-02T13:19:42.464" v="0"/>
          <ac:spMkLst>
            <pc:docMk/>
            <pc:sldMk cId="680007057" sldId="380"/>
            <ac:spMk id="32772" creationId="{00000000-0000-0000-0000-000000000000}"/>
          </ac:spMkLst>
        </pc:spChg>
        <pc:picChg chg="mod">
          <ac:chgData name="SP - Sonja Heynen-Pianka" userId="be06f938-f672-4a6f-92da-83ac3f6030d5" providerId="ADAL" clId="{020F8015-452F-48BE-BFAC-3B393D8E78FA}" dt="2024-01-02T13:30:02.268" v="13"/>
          <ac:picMkLst>
            <pc:docMk/>
            <pc:sldMk cId="680007057" sldId="380"/>
            <ac:picMk id="6" creationId="{B6037CDC-3236-43FD-A71A-17686DA777E2}"/>
          </ac:picMkLst>
        </pc:picChg>
      </pc:sldChg>
      <pc:sldChg chg="modSp">
        <pc:chgData name="SP - Sonja Heynen-Pianka" userId="be06f938-f672-4a6f-92da-83ac3f6030d5" providerId="ADAL" clId="{020F8015-452F-48BE-BFAC-3B393D8E78FA}" dt="2024-01-02T13:19:42.464" v="0"/>
        <pc:sldMkLst>
          <pc:docMk/>
          <pc:sldMk cId="2094613281" sldId="381"/>
        </pc:sldMkLst>
        <pc:spChg chg="mod">
          <ac:chgData name="SP - Sonja Heynen-Pianka" userId="be06f938-f672-4a6f-92da-83ac3f6030d5" providerId="ADAL" clId="{020F8015-452F-48BE-BFAC-3B393D8E78FA}" dt="2024-01-02T13:19:42.464" v="0"/>
          <ac:spMkLst>
            <pc:docMk/>
            <pc:sldMk cId="2094613281" sldId="381"/>
            <ac:spMk id="33793" creationId="{00000000-0000-0000-0000-000000000000}"/>
          </ac:spMkLst>
        </pc:spChg>
        <pc:spChg chg="mod">
          <ac:chgData name="SP - Sonja Heynen-Pianka" userId="be06f938-f672-4a6f-92da-83ac3f6030d5" providerId="ADAL" clId="{020F8015-452F-48BE-BFAC-3B393D8E78FA}" dt="2024-01-02T13:19:42.464" v="0"/>
          <ac:spMkLst>
            <pc:docMk/>
            <pc:sldMk cId="2094613281" sldId="381"/>
            <ac:spMk id="33796" creationId="{00000000-0000-0000-0000-000000000000}"/>
          </ac:spMkLst>
        </pc:spChg>
      </pc:sldChg>
      <pc:sldChg chg="modSp">
        <pc:chgData name="SP - Sonja Heynen-Pianka" userId="be06f938-f672-4a6f-92da-83ac3f6030d5" providerId="ADAL" clId="{020F8015-452F-48BE-BFAC-3B393D8E78FA}" dt="2024-01-02T13:19:42.464" v="0"/>
        <pc:sldMkLst>
          <pc:docMk/>
          <pc:sldMk cId="2097657371" sldId="382"/>
        </pc:sldMkLst>
        <pc:spChg chg="mod">
          <ac:chgData name="SP - Sonja Heynen-Pianka" userId="be06f938-f672-4a6f-92da-83ac3f6030d5" providerId="ADAL" clId="{020F8015-452F-48BE-BFAC-3B393D8E78FA}" dt="2024-01-02T13:19:42.464" v="0"/>
          <ac:spMkLst>
            <pc:docMk/>
            <pc:sldMk cId="2097657371" sldId="382"/>
            <ac:spMk id="34817" creationId="{00000000-0000-0000-0000-000000000000}"/>
          </ac:spMkLst>
        </pc:spChg>
        <pc:spChg chg="mod">
          <ac:chgData name="SP - Sonja Heynen-Pianka" userId="be06f938-f672-4a6f-92da-83ac3f6030d5" providerId="ADAL" clId="{020F8015-452F-48BE-BFAC-3B393D8E78FA}" dt="2024-01-02T13:19:42.464" v="0"/>
          <ac:spMkLst>
            <pc:docMk/>
            <pc:sldMk cId="2097657371" sldId="382"/>
            <ac:spMk id="34820" creationId="{00000000-0000-0000-0000-000000000000}"/>
          </ac:spMkLst>
        </pc:spChg>
      </pc:sldChg>
      <pc:sldMasterChg chg="modSp delSldLayout modSldLayout">
        <pc:chgData name="SP - Sonja Heynen-Pianka" userId="be06f938-f672-4a6f-92da-83ac3f6030d5" providerId="ADAL" clId="{020F8015-452F-48BE-BFAC-3B393D8E78FA}" dt="2024-01-02T13:31:01.576" v="15" actId="47"/>
        <pc:sldMasterMkLst>
          <pc:docMk/>
          <pc:sldMasterMk cId="3156164027" sldId="2147483728"/>
        </pc:sldMasterMkLst>
        <pc:spChg chg="mod">
          <ac:chgData name="SP - Sonja Heynen-Pianka" userId="be06f938-f672-4a6f-92da-83ac3f6030d5" providerId="ADAL" clId="{020F8015-452F-48BE-BFAC-3B393D8E78FA}" dt="2024-01-02T13:30:02.268" v="13"/>
          <ac:spMkLst>
            <pc:docMk/>
            <pc:sldMasterMk cId="3156164027" sldId="2147483728"/>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ac:spMk id="4" creationId="{13D55251-FCD2-098F-C711-80A025A5E87A}"/>
          </ac:spMkLst>
        </pc:spChg>
        <pc:spChg chg="mod">
          <ac:chgData name="SP - Sonja Heynen-Pianka" userId="be06f938-f672-4a6f-92da-83ac3f6030d5" providerId="ADAL" clId="{020F8015-452F-48BE-BFAC-3B393D8E78FA}" dt="2024-01-02T13:30:02.268" v="13"/>
          <ac:spMkLst>
            <pc:docMk/>
            <pc:sldMasterMk cId="3156164027" sldId="2147483728"/>
            <ac:spMk id="5"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ac:spMk id="6"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ac:spMk id="10" creationId="{07F6F746-2D84-BA82-F1D5-8408966C1429}"/>
          </ac:spMkLst>
        </pc:spChg>
        <pc:spChg chg="mod">
          <ac:chgData name="SP - Sonja Heynen-Pianka" userId="be06f938-f672-4a6f-92da-83ac3f6030d5" providerId="ADAL" clId="{020F8015-452F-48BE-BFAC-3B393D8E78FA}" dt="2024-01-02T13:30:02.268" v="13"/>
          <ac:spMkLst>
            <pc:docMk/>
            <pc:sldMasterMk cId="3156164027" sldId="2147483728"/>
            <ac:spMk id="12" creationId="{3276C4E7-2150-9115-C80C-C154CE7C98F4}"/>
          </ac:spMkLst>
        </pc:spChg>
        <pc:spChg chg="mod">
          <ac:chgData name="SP - Sonja Heynen-Pianka" userId="be06f938-f672-4a6f-92da-83ac3f6030d5" providerId="ADAL" clId="{020F8015-452F-48BE-BFAC-3B393D8E78FA}" dt="2024-01-02T13:30:02.268" v="13"/>
          <ac:spMkLst>
            <pc:docMk/>
            <pc:sldMasterMk cId="3156164027" sldId="2147483728"/>
            <ac:spMk id="14" creationId="{A591A36D-AC9D-096F-A586-ED2A6A4899AD}"/>
          </ac:spMkLst>
        </pc:spChg>
        <pc:picChg chg="mod">
          <ac:chgData name="SP - Sonja Heynen-Pianka" userId="be06f938-f672-4a6f-92da-83ac3f6030d5" providerId="ADAL" clId="{020F8015-452F-48BE-BFAC-3B393D8E78FA}" dt="2024-01-02T13:30:02.268" v="13"/>
          <ac:picMkLst>
            <pc:docMk/>
            <pc:sldMasterMk cId="3156164027" sldId="2147483728"/>
            <ac:picMk id="7" creationId="{3FCCF094-3B00-E116-643D-AB56DC9D9867}"/>
          </ac:picMkLst>
        </pc:picChg>
        <pc:picChg chg="mod">
          <ac:chgData name="SP - Sonja Heynen-Pianka" userId="be06f938-f672-4a6f-92da-83ac3f6030d5" providerId="ADAL" clId="{020F8015-452F-48BE-BFAC-3B393D8E78FA}" dt="2024-01-02T13:30:02.268" v="13"/>
          <ac:picMkLst>
            <pc:docMk/>
            <pc:sldMasterMk cId="3156164027" sldId="2147483728"/>
            <ac:picMk id="11" creationId="{05183F9F-7A9D-9A6D-6DE8-A5936B4BCEE3}"/>
          </ac:picMkLst>
        </pc:picChg>
        <pc:sldLayoutChg chg="modSp">
          <pc:chgData name="SP - Sonja Heynen-Pianka" userId="be06f938-f672-4a6f-92da-83ac3f6030d5" providerId="ADAL" clId="{020F8015-452F-48BE-BFAC-3B393D8E78FA}" dt="2024-01-02T13:30:02.268" v="13"/>
          <pc:sldLayoutMkLst>
            <pc:docMk/>
            <pc:sldMasterMk cId="3156164027" sldId="2147483728"/>
            <pc:sldLayoutMk cId="2902129695" sldId="2147483729"/>
          </pc:sldLayoutMkLst>
          <pc:spChg chg="mod">
            <ac:chgData name="SP - Sonja Heynen-Pianka" userId="be06f938-f672-4a6f-92da-83ac3f6030d5" providerId="ADAL" clId="{020F8015-452F-48BE-BFAC-3B393D8E78FA}" dt="2024-01-02T13:30:02.268" v="13"/>
            <ac:spMkLst>
              <pc:docMk/>
              <pc:sldMasterMk cId="3156164027" sldId="2147483728"/>
              <pc:sldLayoutMk cId="2902129695" sldId="2147483729"/>
              <ac:spMk id="2" creationId="{5B6072B8-2C89-4272-82C0-3891EF1FA5F0}"/>
            </ac:spMkLst>
          </pc:spChg>
          <pc:spChg chg="mod">
            <ac:chgData name="SP - Sonja Heynen-Pianka" userId="be06f938-f672-4a6f-92da-83ac3f6030d5" providerId="ADAL" clId="{020F8015-452F-48BE-BFAC-3B393D8E78FA}" dt="2024-01-02T13:30:02.268" v="13"/>
            <ac:spMkLst>
              <pc:docMk/>
              <pc:sldMasterMk cId="3156164027" sldId="2147483728"/>
              <pc:sldLayoutMk cId="2902129695" sldId="2147483729"/>
              <ac:spMk id="3" creationId="{5A49B059-9806-6BAB-CEDF-507FF3E07FC5}"/>
            </ac:spMkLst>
          </pc:spChg>
          <pc:spChg chg="mod">
            <ac:chgData name="SP - Sonja Heynen-Pianka" userId="be06f938-f672-4a6f-92da-83ac3f6030d5" providerId="ADAL" clId="{020F8015-452F-48BE-BFAC-3B393D8E78FA}" dt="2024-01-02T13:30:02.268" v="13"/>
            <ac:spMkLst>
              <pc:docMk/>
              <pc:sldMasterMk cId="3156164027" sldId="2147483728"/>
              <pc:sldLayoutMk cId="2902129695" sldId="2147483729"/>
              <ac:spMk id="4" creationId="{AEF8D7F9-E87D-41FA-81A8-9628104F69A9}"/>
            </ac:spMkLst>
          </pc:spChg>
          <pc:grpChg chg="mod">
            <ac:chgData name="SP - Sonja Heynen-Pianka" userId="be06f938-f672-4a6f-92da-83ac3f6030d5" providerId="ADAL" clId="{020F8015-452F-48BE-BFAC-3B393D8E78FA}" dt="2024-01-02T13:30:02.268" v="13"/>
            <ac:grpSpMkLst>
              <pc:docMk/>
              <pc:sldMasterMk cId="3156164027" sldId="2147483728"/>
              <pc:sldLayoutMk cId="2902129695" sldId="2147483729"/>
              <ac:grpSpMk id="14" creationId="{FB173046-A4C0-A2F0-2BF2-DD9612604784}"/>
            </ac:grpSpMkLst>
          </pc:grpChg>
          <pc:picChg chg="mod">
            <ac:chgData name="SP - Sonja Heynen-Pianka" userId="be06f938-f672-4a6f-92da-83ac3f6030d5" providerId="ADAL" clId="{020F8015-452F-48BE-BFAC-3B393D8E78FA}" dt="2024-01-02T13:30:02.268" v="13"/>
            <ac:picMkLst>
              <pc:docMk/>
              <pc:sldMasterMk cId="3156164027" sldId="2147483728"/>
              <pc:sldLayoutMk cId="2902129695" sldId="2147483729"/>
              <ac:picMk id="15" creationId="{3BD87CAB-0DDF-25D7-7081-2BFB7F29B585}"/>
            </ac:picMkLst>
          </pc:picChg>
          <pc:picChg chg="mod">
            <ac:chgData name="SP - Sonja Heynen-Pianka" userId="be06f938-f672-4a6f-92da-83ac3f6030d5" providerId="ADAL" clId="{020F8015-452F-48BE-BFAC-3B393D8E78FA}" dt="2024-01-02T13:30:02.268" v="13"/>
            <ac:picMkLst>
              <pc:docMk/>
              <pc:sldMasterMk cId="3156164027" sldId="2147483728"/>
              <pc:sldLayoutMk cId="2902129695" sldId="2147483729"/>
              <ac:picMk id="16" creationId="{77FD8DDD-27A7-1AA5-111F-168D6DD78B40}"/>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4259310179" sldId="2147483730"/>
          </pc:sldLayoutMkLst>
          <pc:spChg chg="mod">
            <ac:chgData name="SP - Sonja Heynen-Pianka" userId="be06f938-f672-4a6f-92da-83ac3f6030d5" providerId="ADAL" clId="{020F8015-452F-48BE-BFAC-3B393D8E78FA}" dt="2024-01-02T13:30:02.268" v="13"/>
            <ac:spMkLst>
              <pc:docMk/>
              <pc:sldMasterMk cId="3156164027" sldId="2147483728"/>
              <pc:sldLayoutMk cId="4259310179" sldId="2147483730"/>
              <ac:spMk id="2" creationId="{5B6072B8-2C89-4272-82C0-3891EF1FA5F0}"/>
            </ac:spMkLst>
          </pc:spChg>
          <pc:spChg chg="mod">
            <ac:chgData name="SP - Sonja Heynen-Pianka" userId="be06f938-f672-4a6f-92da-83ac3f6030d5" providerId="ADAL" clId="{020F8015-452F-48BE-BFAC-3B393D8E78FA}" dt="2024-01-02T13:30:02.268" v="13"/>
            <ac:spMkLst>
              <pc:docMk/>
              <pc:sldMasterMk cId="3156164027" sldId="2147483728"/>
              <pc:sldLayoutMk cId="4259310179" sldId="2147483730"/>
              <ac:spMk id="4" creationId="{AEF8D7F9-E87D-41FA-81A8-9628104F69A9}"/>
            </ac:spMkLst>
          </pc:spChg>
          <pc:grpChg chg="mod">
            <ac:chgData name="SP - Sonja Heynen-Pianka" userId="be06f938-f672-4a6f-92da-83ac3f6030d5" providerId="ADAL" clId="{020F8015-452F-48BE-BFAC-3B393D8E78FA}" dt="2024-01-02T13:30:02.268" v="13"/>
            <ac:grpSpMkLst>
              <pc:docMk/>
              <pc:sldMasterMk cId="3156164027" sldId="2147483728"/>
              <pc:sldLayoutMk cId="4259310179" sldId="2147483730"/>
              <ac:grpSpMk id="10" creationId="{558EEDCF-2AA8-D387-F0C0-0E0B6676E9EF}"/>
            </ac:grpSpMkLst>
          </pc:grpChg>
          <pc:picChg chg="mod">
            <ac:chgData name="SP - Sonja Heynen-Pianka" userId="be06f938-f672-4a6f-92da-83ac3f6030d5" providerId="ADAL" clId="{020F8015-452F-48BE-BFAC-3B393D8E78FA}" dt="2024-01-02T13:30:02.268" v="13"/>
            <ac:picMkLst>
              <pc:docMk/>
              <pc:sldMasterMk cId="3156164027" sldId="2147483728"/>
              <pc:sldLayoutMk cId="4259310179" sldId="2147483730"/>
              <ac:picMk id="6" creationId="{0863E7CD-4BA9-8599-A32E-A567A91C076D}"/>
            </ac:picMkLst>
          </pc:picChg>
          <pc:picChg chg="mod">
            <ac:chgData name="SP - Sonja Heynen-Pianka" userId="be06f938-f672-4a6f-92da-83ac3f6030d5" providerId="ADAL" clId="{020F8015-452F-48BE-BFAC-3B393D8E78FA}" dt="2024-01-02T13:30:02.268" v="13"/>
            <ac:picMkLst>
              <pc:docMk/>
              <pc:sldMasterMk cId="3156164027" sldId="2147483728"/>
              <pc:sldLayoutMk cId="4259310179" sldId="2147483730"/>
              <ac:picMk id="9" creationId="{34E2D74F-4C33-FDB9-76CC-3A15202C3E31}"/>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2086553" sldId="2147483731"/>
          </pc:sldLayoutMkLst>
          <pc:spChg chg="mod">
            <ac:chgData name="SP - Sonja Heynen-Pianka" userId="be06f938-f672-4a6f-92da-83ac3f6030d5" providerId="ADAL" clId="{020F8015-452F-48BE-BFAC-3B393D8E78FA}" dt="2024-01-02T13:30:02.268" v="13"/>
            <ac:spMkLst>
              <pc:docMk/>
              <pc:sldMasterMk cId="3156164027" sldId="2147483728"/>
              <pc:sldLayoutMk cId="22086553" sldId="2147483731"/>
              <ac:spMk id="2" creationId="{5B6072B8-2C89-4272-82C0-3891EF1FA5F0}"/>
            </ac:spMkLst>
          </pc:spChg>
          <pc:spChg chg="mod">
            <ac:chgData name="SP - Sonja Heynen-Pianka" userId="be06f938-f672-4a6f-92da-83ac3f6030d5" providerId="ADAL" clId="{020F8015-452F-48BE-BFAC-3B393D8E78FA}" dt="2024-01-02T13:30:02.268" v="13"/>
            <ac:spMkLst>
              <pc:docMk/>
              <pc:sldMasterMk cId="3156164027" sldId="2147483728"/>
              <pc:sldLayoutMk cId="22086553" sldId="2147483731"/>
              <ac:spMk id="5" creationId="{6B134BF7-ABF4-4412-A4F4-0A3424E5488B}"/>
            </ac:spMkLst>
          </pc:spChg>
          <pc:spChg chg="mod">
            <ac:chgData name="SP - Sonja Heynen-Pianka" userId="be06f938-f672-4a6f-92da-83ac3f6030d5" providerId="ADAL" clId="{020F8015-452F-48BE-BFAC-3B393D8E78FA}" dt="2024-01-02T13:30:02.268" v="13"/>
            <ac:spMkLst>
              <pc:docMk/>
              <pc:sldMasterMk cId="3156164027" sldId="2147483728"/>
              <pc:sldLayoutMk cId="22086553" sldId="2147483731"/>
              <ac:spMk id="21" creationId="{F99BC253-5520-A73E-F7D2-715FD7BED55D}"/>
            </ac:spMkLst>
          </pc:spChg>
          <pc:picChg chg="mod">
            <ac:chgData name="SP - Sonja Heynen-Pianka" userId="be06f938-f672-4a6f-92da-83ac3f6030d5" providerId="ADAL" clId="{020F8015-452F-48BE-BFAC-3B393D8E78FA}" dt="2024-01-02T13:30:02.268" v="13"/>
            <ac:picMkLst>
              <pc:docMk/>
              <pc:sldMasterMk cId="3156164027" sldId="2147483728"/>
              <pc:sldLayoutMk cId="22086553" sldId="2147483731"/>
              <ac:picMk id="4" creationId="{AC8D7CD1-CF6C-7C61-41DE-5EEE0F29DB88}"/>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406365470" sldId="2147483732"/>
          </pc:sldLayoutMkLst>
          <pc:spChg chg="mod">
            <ac:chgData name="SP - Sonja Heynen-Pianka" userId="be06f938-f672-4a6f-92da-83ac3f6030d5" providerId="ADAL" clId="{020F8015-452F-48BE-BFAC-3B393D8E78FA}" dt="2024-01-02T13:30:02.268" v="13"/>
            <ac:spMkLst>
              <pc:docMk/>
              <pc:sldMasterMk cId="3156164027" sldId="2147483728"/>
              <pc:sldLayoutMk cId="406365470" sldId="2147483732"/>
              <ac:spMk id="2" creationId="{71024CB5-5B39-473A-9328-DC965D29B519}"/>
            </ac:spMkLst>
          </pc:spChg>
          <pc:spChg chg="mod">
            <ac:chgData name="SP - Sonja Heynen-Pianka" userId="be06f938-f672-4a6f-92da-83ac3f6030d5" providerId="ADAL" clId="{020F8015-452F-48BE-BFAC-3B393D8E78FA}" dt="2024-01-02T13:30:02.268" v="13"/>
            <ac:spMkLst>
              <pc:docMk/>
              <pc:sldMasterMk cId="3156164027" sldId="2147483728"/>
              <pc:sldLayoutMk cId="406365470" sldId="2147483732"/>
              <ac:spMk id="5" creationId="{1AF021C7-E21F-F960-FBE2-7F689AE25FB2}"/>
            </ac:spMkLst>
          </pc:spChg>
          <pc:spChg chg="mod">
            <ac:chgData name="SP - Sonja Heynen-Pianka" userId="be06f938-f672-4a6f-92da-83ac3f6030d5" providerId="ADAL" clId="{020F8015-452F-48BE-BFAC-3B393D8E78FA}" dt="2024-01-02T13:30:02.268" v="13"/>
            <ac:spMkLst>
              <pc:docMk/>
              <pc:sldMasterMk cId="3156164027" sldId="2147483728"/>
              <pc:sldLayoutMk cId="406365470" sldId="2147483732"/>
              <ac:spMk id="7"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406365470" sldId="2147483732"/>
              <ac:spMk id="8"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766334730" sldId="2147483733"/>
          </pc:sldLayoutMkLst>
          <pc:spChg chg="mod">
            <ac:chgData name="SP - Sonja Heynen-Pianka" userId="be06f938-f672-4a6f-92da-83ac3f6030d5" providerId="ADAL" clId="{020F8015-452F-48BE-BFAC-3B393D8E78FA}" dt="2024-01-02T13:30:02.268" v="13"/>
            <ac:spMkLst>
              <pc:docMk/>
              <pc:sldMasterMk cId="3156164027" sldId="2147483728"/>
              <pc:sldLayoutMk cId="766334730" sldId="2147483733"/>
              <ac:spMk id="4" creationId="{BEE64445-44EB-617C-26A4-15E365FEBCCB}"/>
            </ac:spMkLst>
          </pc:spChg>
          <pc:spChg chg="mod">
            <ac:chgData name="SP - Sonja Heynen-Pianka" userId="be06f938-f672-4a6f-92da-83ac3f6030d5" providerId="ADAL" clId="{020F8015-452F-48BE-BFAC-3B393D8E78FA}" dt="2024-01-02T13:30:02.268" v="13"/>
            <ac:spMkLst>
              <pc:docMk/>
              <pc:sldMasterMk cId="3156164027" sldId="2147483728"/>
              <pc:sldLayoutMk cId="766334730" sldId="2147483733"/>
              <ac:spMk id="7" creationId="{BF253DA0-C99F-CCE2-8376-62B4FD1BC01C}"/>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464936765" sldId="2147483734"/>
          </pc:sldLayoutMkLst>
          <pc:spChg chg="mod">
            <ac:chgData name="SP - Sonja Heynen-Pianka" userId="be06f938-f672-4a6f-92da-83ac3f6030d5" providerId="ADAL" clId="{020F8015-452F-48BE-BFAC-3B393D8E78FA}" dt="2024-01-02T13:30:02.268" v="13"/>
            <ac:spMkLst>
              <pc:docMk/>
              <pc:sldMasterMk cId="3156164027" sldId="2147483728"/>
              <pc:sldLayoutMk cId="1464936765" sldId="2147483734"/>
              <ac:spMk id="4" creationId="{BEE64445-44EB-617C-26A4-15E365FEBCCB}"/>
            </ac:spMkLst>
          </pc:spChg>
          <pc:spChg chg="mod">
            <ac:chgData name="SP - Sonja Heynen-Pianka" userId="be06f938-f672-4a6f-92da-83ac3f6030d5" providerId="ADAL" clId="{020F8015-452F-48BE-BFAC-3B393D8E78FA}" dt="2024-01-02T13:30:02.268" v="13"/>
            <ac:spMkLst>
              <pc:docMk/>
              <pc:sldMasterMk cId="3156164027" sldId="2147483728"/>
              <pc:sldLayoutMk cId="1464936765" sldId="2147483734"/>
              <ac:spMk id="5" creationId="{A454B215-1514-AD0D-7171-82392DCEE9F4}"/>
            </ac:spMkLst>
          </pc:spChg>
          <pc:spChg chg="mod">
            <ac:chgData name="SP - Sonja Heynen-Pianka" userId="be06f938-f672-4a6f-92da-83ac3f6030d5" providerId="ADAL" clId="{020F8015-452F-48BE-BFAC-3B393D8E78FA}" dt="2024-01-02T13:30:02.268" v="13"/>
            <ac:spMkLst>
              <pc:docMk/>
              <pc:sldMasterMk cId="3156164027" sldId="2147483728"/>
              <pc:sldLayoutMk cId="1464936765" sldId="2147483734"/>
              <ac:spMk id="7" creationId="{BF253DA0-C99F-CCE2-8376-62B4FD1BC01C}"/>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74496103" sldId="2147483735"/>
          </pc:sldLayoutMkLst>
          <pc:spChg chg="mod">
            <ac:chgData name="SP - Sonja Heynen-Pianka" userId="be06f938-f672-4a6f-92da-83ac3f6030d5" providerId="ADAL" clId="{020F8015-452F-48BE-BFAC-3B393D8E78FA}" dt="2024-01-02T13:30:02.268" v="13"/>
            <ac:spMkLst>
              <pc:docMk/>
              <pc:sldMasterMk cId="3156164027" sldId="2147483728"/>
              <pc:sldLayoutMk cId="174496103" sldId="2147483735"/>
              <ac:spMk id="5" creationId="{59299A02-BB7A-D23A-5899-109A6081A58A}"/>
            </ac:spMkLst>
          </pc:spChg>
          <pc:spChg chg="mod">
            <ac:chgData name="SP - Sonja Heynen-Pianka" userId="be06f938-f672-4a6f-92da-83ac3f6030d5" providerId="ADAL" clId="{020F8015-452F-48BE-BFAC-3B393D8E78FA}" dt="2024-01-02T13:30:02.268" v="13"/>
            <ac:spMkLst>
              <pc:docMk/>
              <pc:sldMasterMk cId="3156164027" sldId="2147483728"/>
              <pc:sldLayoutMk cId="174496103" sldId="2147483735"/>
              <ac:spMk id="7" creationId="{BF253DA0-C99F-CCE2-8376-62B4FD1BC01C}"/>
            </ac:spMkLst>
          </pc:spChg>
          <pc:spChg chg="mod">
            <ac:chgData name="SP - Sonja Heynen-Pianka" userId="be06f938-f672-4a6f-92da-83ac3f6030d5" providerId="ADAL" clId="{020F8015-452F-48BE-BFAC-3B393D8E78FA}" dt="2024-01-02T13:30:02.268" v="13"/>
            <ac:spMkLst>
              <pc:docMk/>
              <pc:sldMasterMk cId="3156164027" sldId="2147483728"/>
              <pc:sldLayoutMk cId="174496103" sldId="2147483735"/>
              <ac:spMk id="10" creationId="{9011ADA1-4856-7E23-9645-19D873181D9D}"/>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207212848" sldId="2147483736"/>
          </pc:sldLayoutMkLst>
          <pc:spChg chg="mod">
            <ac:chgData name="SP - Sonja Heynen-Pianka" userId="be06f938-f672-4a6f-92da-83ac3f6030d5" providerId="ADAL" clId="{020F8015-452F-48BE-BFAC-3B393D8E78FA}" dt="2024-01-02T13:30:02.268" v="13"/>
            <ac:spMkLst>
              <pc:docMk/>
              <pc:sldMasterMk cId="3156164027" sldId="2147483728"/>
              <pc:sldLayoutMk cId="2207212848" sldId="2147483736"/>
              <ac:spMk id="2" creationId="{A634B820-6669-DBBB-494F-24B4FA1D498A}"/>
            </ac:spMkLst>
          </pc:spChg>
          <pc:spChg chg="mod">
            <ac:chgData name="SP - Sonja Heynen-Pianka" userId="be06f938-f672-4a6f-92da-83ac3f6030d5" providerId="ADAL" clId="{020F8015-452F-48BE-BFAC-3B393D8E78FA}" dt="2024-01-02T13:30:02.268" v="13"/>
            <ac:spMkLst>
              <pc:docMk/>
              <pc:sldMasterMk cId="3156164027" sldId="2147483728"/>
              <pc:sldLayoutMk cId="2207212848" sldId="2147483736"/>
              <ac:spMk id="5"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207212848" sldId="2147483736"/>
              <ac:spMk id="6" creationId="{1141E905-8F9A-BAAC-3E16-D4726366CFE8}"/>
            </ac:spMkLst>
          </pc:spChg>
          <pc:spChg chg="mod">
            <ac:chgData name="SP - Sonja Heynen-Pianka" userId="be06f938-f672-4a6f-92da-83ac3f6030d5" providerId="ADAL" clId="{020F8015-452F-48BE-BFAC-3B393D8E78FA}" dt="2024-01-02T13:30:02.268" v="13"/>
            <ac:spMkLst>
              <pc:docMk/>
              <pc:sldMasterMk cId="3156164027" sldId="2147483728"/>
              <pc:sldLayoutMk cId="2207212848" sldId="2147483736"/>
              <ac:spMk id="7"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898888279" sldId="2147483737"/>
          </pc:sldLayoutMkLst>
          <pc:spChg chg="mod">
            <ac:chgData name="SP - Sonja Heynen-Pianka" userId="be06f938-f672-4a6f-92da-83ac3f6030d5" providerId="ADAL" clId="{020F8015-452F-48BE-BFAC-3B393D8E78FA}" dt="2024-01-02T13:30:02.268" v="13"/>
            <ac:spMkLst>
              <pc:docMk/>
              <pc:sldMasterMk cId="3156164027" sldId="2147483728"/>
              <pc:sldLayoutMk cId="1898888279" sldId="2147483737"/>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98888279" sldId="2147483737"/>
              <ac:spMk id="5"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98888279" sldId="2147483737"/>
              <ac:spMk id="6" creationId="{16772743-4F2C-5CEF-F250-4B835CF19BCB}"/>
            </ac:spMkLst>
          </pc:spChg>
          <pc:spChg chg="mod">
            <ac:chgData name="SP - Sonja Heynen-Pianka" userId="be06f938-f672-4a6f-92da-83ac3f6030d5" providerId="ADAL" clId="{020F8015-452F-48BE-BFAC-3B393D8E78FA}" dt="2024-01-02T13:30:02.268" v="13"/>
            <ac:spMkLst>
              <pc:docMk/>
              <pc:sldMasterMk cId="3156164027" sldId="2147483728"/>
              <pc:sldLayoutMk cId="1898888279" sldId="2147483737"/>
              <ac:spMk id="7"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98888279" sldId="2147483737"/>
              <ac:spMk id="8" creationId="{CE5084D5-8143-2CA6-3DB8-167DAABC7EC1}"/>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388128090" sldId="2147483738"/>
          </pc:sldLayoutMkLst>
          <pc:spChg chg="mod">
            <ac:chgData name="SP - Sonja Heynen-Pianka" userId="be06f938-f672-4a6f-92da-83ac3f6030d5" providerId="ADAL" clId="{020F8015-452F-48BE-BFAC-3B393D8E78FA}" dt="2024-01-02T13:30:02.268" v="13"/>
            <ac:spMkLst>
              <pc:docMk/>
              <pc:sldMasterMk cId="3156164027" sldId="2147483728"/>
              <pc:sldLayoutMk cId="2388128090" sldId="2147483738"/>
              <ac:spMk id="2" creationId="{71024CB5-5B39-473A-9328-DC965D29B519}"/>
            </ac:spMkLst>
          </pc:spChg>
          <pc:spChg chg="mod">
            <ac:chgData name="SP - Sonja Heynen-Pianka" userId="be06f938-f672-4a6f-92da-83ac3f6030d5" providerId="ADAL" clId="{020F8015-452F-48BE-BFAC-3B393D8E78FA}" dt="2024-01-02T13:30:02.268" v="13"/>
            <ac:spMkLst>
              <pc:docMk/>
              <pc:sldMasterMk cId="3156164027" sldId="2147483728"/>
              <pc:sldLayoutMk cId="2388128090" sldId="2147483738"/>
              <ac:spMk id="3" creationId="{20581965-BA22-C04B-4A09-7F3D92DEB3ED}"/>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3838641144" sldId="2147483740"/>
          </pc:sldLayoutMkLst>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2" creationId="{4084A3A7-0B05-D557-3924-DDAA5D49A19C}"/>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5" creationId="{078F299C-07BB-CD27-BEE4-E1AE50C9AB3C}"/>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6" creationId="{A630B9B4-3EF7-7197-F043-0B53DDEFCF4F}"/>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11" creationId="{C6A42084-E00D-AE32-E971-71BA2F3BD311}"/>
            </ac:spMkLst>
          </pc:spChg>
          <pc:spChg chg="mod">
            <ac:chgData name="SP - Sonja Heynen-Pianka" userId="be06f938-f672-4a6f-92da-83ac3f6030d5" providerId="ADAL" clId="{020F8015-452F-48BE-BFAC-3B393D8E78FA}" dt="2024-01-02T13:30:02.268" v="13"/>
            <ac:spMkLst>
              <pc:docMk/>
              <pc:sldMasterMk cId="3156164027" sldId="2147483728"/>
              <pc:sldLayoutMk cId="3838641144" sldId="2147483740"/>
              <ac:spMk id="12" creationId="{3D87E8AA-A28B-4177-7715-54C776DF3A7A}"/>
            </ac:spMkLst>
          </pc:spChg>
          <pc:picChg chg="mod">
            <ac:chgData name="SP - Sonja Heynen-Pianka" userId="be06f938-f672-4a6f-92da-83ac3f6030d5" providerId="ADAL" clId="{020F8015-452F-48BE-BFAC-3B393D8E78FA}" dt="2024-01-02T13:30:02.268" v="13"/>
            <ac:picMkLst>
              <pc:docMk/>
              <pc:sldMasterMk cId="3156164027" sldId="2147483728"/>
              <pc:sldLayoutMk cId="3838641144" sldId="2147483740"/>
              <ac:picMk id="10" creationId="{99AD063E-DFB6-B137-9799-A8F69599D419}"/>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595465444" sldId="2147483741"/>
          </pc:sldLayoutMkLst>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2" creationId="{521E93EA-7263-6027-6F99-621C9757B7A2}"/>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5" creationId="{3FBE3152-E0FB-692D-3D97-677427BBE99E}"/>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6" creationId="{A42241A1-58CE-B3C1-C62F-370957C70E4D}"/>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11" creationId="{F80104EE-20CD-22F1-C3A5-6EFABE3D69DB}"/>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12" creationId="{92B33BCC-1E92-4D34-9321-FA90CF8DB11E}"/>
            </ac:spMkLst>
          </pc:spChg>
          <pc:spChg chg="mod">
            <ac:chgData name="SP - Sonja Heynen-Pianka" userId="be06f938-f672-4a6f-92da-83ac3f6030d5" providerId="ADAL" clId="{020F8015-452F-48BE-BFAC-3B393D8E78FA}" dt="2024-01-02T13:30:02.268" v="13"/>
            <ac:spMkLst>
              <pc:docMk/>
              <pc:sldMasterMk cId="3156164027" sldId="2147483728"/>
              <pc:sldLayoutMk cId="1595465444" sldId="2147483741"/>
              <ac:spMk id="14" creationId="{2001CFAA-892C-F5BC-7935-6B9528E6100B}"/>
            </ac:spMkLst>
          </pc:spChg>
          <pc:picChg chg="mod">
            <ac:chgData name="SP - Sonja Heynen-Pianka" userId="be06f938-f672-4a6f-92da-83ac3f6030d5" providerId="ADAL" clId="{020F8015-452F-48BE-BFAC-3B393D8E78FA}" dt="2024-01-02T13:30:02.268" v="13"/>
            <ac:picMkLst>
              <pc:docMk/>
              <pc:sldMasterMk cId="3156164027" sldId="2147483728"/>
              <pc:sldLayoutMk cId="1595465444" sldId="2147483741"/>
              <ac:picMk id="10" creationId="{9CDAB083-BB00-B449-A890-1B1DE88412A5}"/>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670936371" sldId="2147483742"/>
          </pc:sldLayoutMkLst>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2" creationId="{DB15314C-DA28-645D-E910-37D6CEE57CDA}"/>
            </ac:spMkLst>
          </pc:spChg>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3" creationId="{8DCCD4C4-7231-F9E6-1E5D-1D202F91AC77}"/>
            </ac:spMkLst>
          </pc:spChg>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4" creationId="{2BE1D6DC-B8B3-8251-D268-A6521864EFE9}"/>
            </ac:spMkLst>
          </pc:spChg>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6" creationId="{027FA583-D737-6F2E-F9A1-B9FD3C8226D0}"/>
            </ac:spMkLst>
          </pc:spChg>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7" creationId="{006FA47B-1791-5EF0-6C28-BE2CFA41B343}"/>
            </ac:spMkLst>
          </pc:spChg>
          <pc:spChg chg="mod">
            <ac:chgData name="SP - Sonja Heynen-Pianka" userId="be06f938-f672-4a6f-92da-83ac3f6030d5" providerId="ADAL" clId="{020F8015-452F-48BE-BFAC-3B393D8E78FA}" dt="2024-01-02T13:30:02.268" v="13"/>
            <ac:spMkLst>
              <pc:docMk/>
              <pc:sldMasterMk cId="3156164027" sldId="2147483728"/>
              <pc:sldLayoutMk cId="2670936371" sldId="2147483742"/>
              <ac:spMk id="8" creationId="{636A129C-6CCA-49D1-A43E-2B186D3EAB58}"/>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507576715" sldId="2147483743"/>
          </pc:sldLayoutMkLst>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2" creationId="{8A77AC48-DD29-B246-14D3-F3F8D47E477E}"/>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5" creationId="{0859FA6F-07FD-7236-E46C-D2619535B5E1}"/>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6" creationId="{C00D4436-D0DE-87DC-AC4C-526B201566EB}"/>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7" creationId="{D217D266-8661-A106-96AC-2A2048406CF7}"/>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0" creationId="{5B67782C-3D66-4D72-4E16-E887C402CD0F}"/>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1" creationId="{58C76991-19F1-A1D6-4617-FDA9C2230412}"/>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2" creationId="{92B33BCC-1E92-4D34-9321-FA90CF8DB11E}"/>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3" creationId="{ADA2CB67-EF9E-2669-310C-F98E9316E9D1}"/>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5" creationId="{099C31DC-465B-1ACE-2142-9DA949EBCB04}"/>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7" creationId="{61DF95C7-73C8-0324-13A9-043B20134269}"/>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8" creationId="{AD63DB6A-D247-9AB1-BFB3-048AA85E61C8}"/>
            </ac:spMkLst>
          </pc:spChg>
          <pc:spChg chg="mod">
            <ac:chgData name="SP - Sonja Heynen-Pianka" userId="be06f938-f672-4a6f-92da-83ac3f6030d5" providerId="ADAL" clId="{020F8015-452F-48BE-BFAC-3B393D8E78FA}" dt="2024-01-02T13:30:02.268" v="13"/>
            <ac:spMkLst>
              <pc:docMk/>
              <pc:sldMasterMk cId="3156164027" sldId="2147483728"/>
              <pc:sldLayoutMk cId="507576715" sldId="2147483743"/>
              <ac:spMk id="19" creationId="{58AB6580-B2DF-723A-D67C-1C23A240C166}"/>
            </ac:spMkLst>
          </pc:spChg>
          <pc:picChg chg="mod">
            <ac:chgData name="SP - Sonja Heynen-Pianka" userId="be06f938-f672-4a6f-92da-83ac3f6030d5" providerId="ADAL" clId="{020F8015-452F-48BE-BFAC-3B393D8E78FA}" dt="2024-01-02T13:30:02.268" v="13"/>
            <ac:picMkLst>
              <pc:docMk/>
              <pc:sldMasterMk cId="3156164027" sldId="2147483728"/>
              <pc:sldLayoutMk cId="507576715" sldId="2147483743"/>
              <ac:picMk id="14" creationId="{43F1EEE2-A845-1A2D-0D6D-89DD618BD01E}"/>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804111891" sldId="2147483744"/>
          </pc:sldLayoutMkLst>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2" creationId="{B0A0A137-A4E3-8FFA-C03B-F75961127BCD}"/>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5" creationId="{4E059E21-A6F6-AB1A-8F84-31FBC60BC62E}"/>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9" creationId="{EF1D150D-801F-B08A-C2D1-8CFA58AE63BA}"/>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12" creationId="{A9866CBA-5F21-ECC2-674C-D20FF6BDF059}"/>
            </ac:spMkLst>
          </pc:spChg>
          <pc:spChg chg="mod">
            <ac:chgData name="SP - Sonja Heynen-Pianka" userId="be06f938-f672-4a6f-92da-83ac3f6030d5" providerId="ADAL" clId="{020F8015-452F-48BE-BFAC-3B393D8E78FA}" dt="2024-01-02T13:30:02.268" v="13"/>
            <ac:spMkLst>
              <pc:docMk/>
              <pc:sldMasterMk cId="3156164027" sldId="2147483728"/>
              <pc:sldLayoutMk cId="1804111891" sldId="2147483744"/>
              <ac:spMk id="13" creationId="{0E820EBC-2572-3973-7CE2-B6C435E59187}"/>
            </ac:spMkLst>
          </pc:spChg>
          <pc:picChg chg="mod">
            <ac:chgData name="SP - Sonja Heynen-Pianka" userId="be06f938-f672-4a6f-92da-83ac3f6030d5" providerId="ADAL" clId="{020F8015-452F-48BE-BFAC-3B393D8E78FA}" dt="2024-01-02T13:30:02.268" v="13"/>
            <ac:picMkLst>
              <pc:docMk/>
              <pc:sldMasterMk cId="3156164027" sldId="2147483728"/>
              <pc:sldLayoutMk cId="1804111891" sldId="2147483744"/>
              <ac:picMk id="10" creationId="{45F9578C-541C-E650-548B-45ADD4E8D1A0}"/>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3212310787" sldId="2147483745"/>
          </pc:sldLayoutMkLst>
          <pc:spChg chg="mod">
            <ac:chgData name="SP - Sonja Heynen-Pianka" userId="be06f938-f672-4a6f-92da-83ac3f6030d5" providerId="ADAL" clId="{020F8015-452F-48BE-BFAC-3B393D8E78FA}" dt="2024-01-02T13:30:02.268" v="13"/>
            <ac:spMkLst>
              <pc:docMk/>
              <pc:sldMasterMk cId="3156164027" sldId="2147483728"/>
              <pc:sldLayoutMk cId="3212310787" sldId="2147483745"/>
              <ac:spMk id="2" creationId="{71024CB5-5B39-473A-9328-DC965D29B519}"/>
            </ac:spMkLst>
          </pc:spChg>
          <pc:spChg chg="mod">
            <ac:chgData name="SP - Sonja Heynen-Pianka" userId="be06f938-f672-4a6f-92da-83ac3f6030d5" providerId="ADAL" clId="{020F8015-452F-48BE-BFAC-3B393D8E78FA}" dt="2024-01-02T13:30:02.268" v="13"/>
            <ac:spMkLst>
              <pc:docMk/>
              <pc:sldMasterMk cId="3156164027" sldId="2147483728"/>
              <pc:sldLayoutMk cId="3212310787" sldId="2147483745"/>
              <ac:spMk id="4"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3212310787" sldId="2147483745"/>
              <ac:spMk id="5" creationId="{B9ECE4A9-ACCE-758D-7041-48726B68BCC6}"/>
            </ac:spMkLst>
          </pc:spChg>
          <pc:spChg chg="mod">
            <ac:chgData name="SP - Sonja Heynen-Pianka" userId="be06f938-f672-4a6f-92da-83ac3f6030d5" providerId="ADAL" clId="{020F8015-452F-48BE-BFAC-3B393D8E78FA}" dt="2024-01-02T13:30:02.268" v="13"/>
            <ac:spMkLst>
              <pc:docMk/>
              <pc:sldMasterMk cId="3156164027" sldId="2147483728"/>
              <pc:sldLayoutMk cId="3212310787" sldId="2147483745"/>
              <ac:spMk id="6" creationId="{3FA4A2BE-CFF2-F408-0514-C2BF8F0DCD7F}"/>
            </ac:spMkLst>
          </pc:spChg>
          <pc:spChg chg="mod">
            <ac:chgData name="SP - Sonja Heynen-Pianka" userId="be06f938-f672-4a6f-92da-83ac3f6030d5" providerId="ADAL" clId="{020F8015-452F-48BE-BFAC-3B393D8E78FA}" dt="2024-01-02T13:30:02.268" v="13"/>
            <ac:spMkLst>
              <pc:docMk/>
              <pc:sldMasterMk cId="3156164027" sldId="2147483728"/>
              <pc:sldLayoutMk cId="3212310787" sldId="2147483745"/>
              <ac:spMk id="7" creationId="{11E2735A-4CDE-931D-E0DD-5B8318D5F820}"/>
            </ac:spMkLst>
          </pc:spChg>
          <pc:picChg chg="mod">
            <ac:chgData name="SP - Sonja Heynen-Pianka" userId="be06f938-f672-4a6f-92da-83ac3f6030d5" providerId="ADAL" clId="{020F8015-452F-48BE-BFAC-3B393D8E78FA}" dt="2024-01-02T13:30:02.268" v="13"/>
            <ac:picMkLst>
              <pc:docMk/>
              <pc:sldMasterMk cId="3156164027" sldId="2147483728"/>
              <pc:sldLayoutMk cId="3212310787" sldId="2147483745"/>
              <ac:picMk id="3" creationId="{B3291CBB-9583-004F-B85E-215C2ABF767D}"/>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848273393" sldId="2147483746"/>
          </pc:sldLayoutMkLst>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2" creationId="{71024CB5-5B39-473A-9328-DC965D29B519}"/>
            </ac:spMkLst>
          </pc:spChg>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4"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5" creationId="{B9ECE4A9-ACCE-758D-7041-48726B68BCC6}"/>
            </ac:spMkLst>
          </pc:spChg>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6" creationId="{71F93AA3-05D3-B284-0761-7775D64234E6}"/>
            </ac:spMkLst>
          </pc:spChg>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7" creationId="{0021134D-036A-A23C-BDCE-38CD86C8AEFC}"/>
            </ac:spMkLst>
          </pc:spChg>
          <pc:spChg chg="mod">
            <ac:chgData name="SP - Sonja Heynen-Pianka" userId="be06f938-f672-4a6f-92da-83ac3f6030d5" providerId="ADAL" clId="{020F8015-452F-48BE-BFAC-3B393D8E78FA}" dt="2024-01-02T13:30:02.268" v="13"/>
            <ac:spMkLst>
              <pc:docMk/>
              <pc:sldMasterMk cId="3156164027" sldId="2147483728"/>
              <pc:sldLayoutMk cId="848273393" sldId="2147483746"/>
              <ac:spMk id="8" creationId="{44DE14EB-C7E4-1410-E634-F4F7F7B84971}"/>
            </ac:spMkLst>
          </pc:spChg>
          <pc:picChg chg="mod">
            <ac:chgData name="SP - Sonja Heynen-Pianka" userId="be06f938-f672-4a6f-92da-83ac3f6030d5" providerId="ADAL" clId="{020F8015-452F-48BE-BFAC-3B393D8E78FA}" dt="2024-01-02T13:30:02.268" v="13"/>
            <ac:picMkLst>
              <pc:docMk/>
              <pc:sldMasterMk cId="3156164027" sldId="2147483728"/>
              <pc:sldLayoutMk cId="848273393" sldId="2147483746"/>
              <ac:picMk id="3" creationId="{B3291CBB-9583-004F-B85E-215C2ABF767D}"/>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204221406" sldId="2147483747"/>
          </pc:sldLayoutMkLst>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4" creationId="{E7AAAED3-6F5D-6120-B16A-A7B308AF72C7}"/>
            </ac:spMkLst>
          </pc:spChg>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6" creationId="{3F22ECFE-0436-FB11-2798-CE017404ED53}"/>
            </ac:spMkLst>
          </pc:spChg>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7" creationId="{A49893D3-E9AF-1ADF-3B29-4567CB47A637}"/>
            </ac:spMkLst>
          </pc:spChg>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10" creationId="{8E3E43B6-A8B4-FC63-5398-FDA22D7EA178}"/>
            </ac:spMkLst>
          </pc:spChg>
          <pc:spChg chg="mod">
            <ac:chgData name="SP - Sonja Heynen-Pianka" userId="be06f938-f672-4a6f-92da-83ac3f6030d5" providerId="ADAL" clId="{020F8015-452F-48BE-BFAC-3B393D8E78FA}" dt="2024-01-02T13:30:02.268" v="13"/>
            <ac:spMkLst>
              <pc:docMk/>
              <pc:sldMasterMk cId="3156164027" sldId="2147483728"/>
              <pc:sldLayoutMk cId="2204221406" sldId="2147483747"/>
              <ac:spMk id="22" creationId="{6E9BA24C-6398-9B26-22B9-89498CAE083A}"/>
            </ac:spMkLst>
          </pc:spChg>
          <pc:grpChg chg="mod">
            <ac:chgData name="SP - Sonja Heynen-Pianka" userId="be06f938-f672-4a6f-92da-83ac3f6030d5" providerId="ADAL" clId="{020F8015-452F-48BE-BFAC-3B393D8E78FA}" dt="2024-01-02T13:30:02.268" v="13"/>
            <ac:grpSpMkLst>
              <pc:docMk/>
              <pc:sldMasterMk cId="3156164027" sldId="2147483728"/>
              <pc:sldLayoutMk cId="2204221406" sldId="2147483747"/>
              <ac:grpSpMk id="5" creationId="{1809C280-03C5-C364-1A4C-436F74B7E8A8}"/>
            </ac:grpSpMkLst>
          </pc:gr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383786657" sldId="2147483748"/>
          </pc:sldLayoutMkLst>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3" creationId="{C569D226-E5FE-34DC-B135-E785D4099BAF}"/>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8" creationId="{636A129C-6CCA-49D1-A43E-2B186D3EAB58}"/>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9" creationId="{85DDF275-DC5D-E077-AD90-F0FF5BD85D83}"/>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27" creationId="{E69C6222-64D2-3CDE-8B12-FA76E69FF925}"/>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28" creationId="{F4B8F31D-3CEE-DE0E-1B6A-BA1C68E6E8A6}"/>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29" creationId="{E6C75DC2-C3BB-7379-9F21-CA3DAC970140}"/>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30" creationId="{A4DA6751-AA7B-F56F-9B56-A28840005016}"/>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31" creationId="{0CCF2B53-7D22-F26E-5134-77D776364BE9}"/>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33" creationId="{CBF8A921-D7E0-3BAB-9784-7CBB42F0AA7F}"/>
            </ac:spMkLst>
          </pc:spChg>
          <pc:spChg chg="mod">
            <ac:chgData name="SP - Sonja Heynen-Pianka" userId="be06f938-f672-4a6f-92da-83ac3f6030d5" providerId="ADAL" clId="{020F8015-452F-48BE-BFAC-3B393D8E78FA}" dt="2024-01-02T13:30:02.268" v="13"/>
            <ac:spMkLst>
              <pc:docMk/>
              <pc:sldMasterMk cId="3156164027" sldId="2147483728"/>
              <pc:sldLayoutMk cId="1383786657" sldId="2147483748"/>
              <ac:spMk id="34" creationId="{C2770BF0-1967-6BA9-444D-FEA46AA287AC}"/>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593631905" sldId="2147483749"/>
          </pc:sldLayoutMkLst>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2" creationId="{9304D8A6-D743-B71A-9BE0-BA195ED89556}"/>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3" creationId="{766E7F99-2A92-6318-6F60-D1C3481ADB03}"/>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5" creationId="{457A756D-F73F-E3F7-86E9-13AB8EEF0199}"/>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0" creationId="{3EC48A66-829D-F817-D24F-A1C608C1452E}"/>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2" creationId="{FC18604A-11AF-6FEF-2C8A-73B057EED6E8}"/>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4" creationId="{5CC23B73-D1BB-240F-C5F7-C6FDE827D196}"/>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5" creationId="{E501F8FF-D67C-F9E8-EC5A-956E1BE2B520}"/>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6" creationId="{AABE0740-D847-325C-6A3B-0565A4D68681}"/>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7" creationId="{E25CFD99-7004-36BB-F088-058CEC647D0A}"/>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8" creationId="{E15A64C0-B59D-2E2F-DE77-E7DA494B7F7C}"/>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19" creationId="{30273B2F-A686-D687-D069-5D519B3CED89}"/>
            </ac:spMkLst>
          </pc:spChg>
          <pc:spChg chg="mod">
            <ac:chgData name="SP - Sonja Heynen-Pianka" userId="be06f938-f672-4a6f-92da-83ac3f6030d5" providerId="ADAL" clId="{020F8015-452F-48BE-BFAC-3B393D8E78FA}" dt="2024-01-02T13:30:02.268" v="13"/>
            <ac:spMkLst>
              <pc:docMk/>
              <pc:sldMasterMk cId="3156164027" sldId="2147483728"/>
              <pc:sldLayoutMk cId="593631905" sldId="2147483749"/>
              <ac:spMk id="20" creationId="{7DB65432-1856-15EF-0E0C-061CF8F22433}"/>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497676713" sldId="2147483750"/>
          </pc:sldLayoutMkLst>
          <pc:spChg chg="mod">
            <ac:chgData name="SP - Sonja Heynen-Pianka" userId="be06f938-f672-4a6f-92da-83ac3f6030d5" providerId="ADAL" clId="{020F8015-452F-48BE-BFAC-3B393D8E78FA}" dt="2024-01-02T13:30:02.268" v="13"/>
            <ac:spMkLst>
              <pc:docMk/>
              <pc:sldMasterMk cId="3156164027" sldId="2147483728"/>
              <pc:sldLayoutMk cId="497676713" sldId="2147483750"/>
              <ac:spMk id="2" creationId="{FCCD0E53-2E3C-83A3-332C-A1EE033105EF}"/>
            </ac:spMkLst>
          </pc:spChg>
          <pc:spChg chg="mod">
            <ac:chgData name="SP - Sonja Heynen-Pianka" userId="be06f938-f672-4a6f-92da-83ac3f6030d5" providerId="ADAL" clId="{020F8015-452F-48BE-BFAC-3B393D8E78FA}" dt="2024-01-02T13:30:02.268" v="13"/>
            <ac:spMkLst>
              <pc:docMk/>
              <pc:sldMasterMk cId="3156164027" sldId="2147483728"/>
              <pc:sldLayoutMk cId="497676713" sldId="2147483750"/>
              <ac:spMk id="5" creationId="{2EC40EB5-E79F-DD21-5FB1-C9FF5082621C}"/>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489539805" sldId="2147483751"/>
          </pc:sldLayoutMkLst>
          <pc:spChg chg="mod">
            <ac:chgData name="SP - Sonja Heynen-Pianka" userId="be06f938-f672-4a6f-92da-83ac3f6030d5" providerId="ADAL" clId="{020F8015-452F-48BE-BFAC-3B393D8E78FA}" dt="2024-01-02T13:30:02.268" v="13"/>
            <ac:spMkLst>
              <pc:docMk/>
              <pc:sldMasterMk cId="3156164027" sldId="2147483728"/>
              <pc:sldLayoutMk cId="489539805" sldId="2147483751"/>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489539805" sldId="2147483751"/>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489539805" sldId="2147483751"/>
              <ac:spMk id="11"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489539805" sldId="2147483751"/>
              <ac:spMk id="12" creationId="{00000000-0000-0000-0000-000000000000}"/>
            </ac:spMkLst>
          </pc:spChg>
          <pc:picChg chg="mod">
            <ac:chgData name="SP - Sonja Heynen-Pianka" userId="be06f938-f672-4a6f-92da-83ac3f6030d5" providerId="ADAL" clId="{020F8015-452F-48BE-BFAC-3B393D8E78FA}" dt="2024-01-02T13:30:02.268" v="13"/>
            <ac:picMkLst>
              <pc:docMk/>
              <pc:sldMasterMk cId="3156164027" sldId="2147483728"/>
              <pc:sldLayoutMk cId="489539805" sldId="2147483751"/>
              <ac:picMk id="7" creationId="{00000000-0000-0000-0000-000000000000}"/>
            </ac:picMkLst>
          </pc:pic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704000070" sldId="2147483752"/>
          </pc:sldLayoutMkLst>
          <pc:spChg chg="mod">
            <ac:chgData name="SP - Sonja Heynen-Pianka" userId="be06f938-f672-4a6f-92da-83ac3f6030d5" providerId="ADAL" clId="{020F8015-452F-48BE-BFAC-3B393D8E78FA}" dt="2024-01-02T13:30:02.268" v="13"/>
            <ac:spMkLst>
              <pc:docMk/>
              <pc:sldMasterMk cId="3156164027" sldId="2147483728"/>
              <pc:sldLayoutMk cId="704000070" sldId="2147483752"/>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704000070" sldId="2147483752"/>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704000070" sldId="2147483752"/>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3987278576" sldId="2147483753"/>
          </pc:sldLayoutMkLst>
          <pc:spChg chg="mod">
            <ac:chgData name="SP - Sonja Heynen-Pianka" userId="be06f938-f672-4a6f-92da-83ac3f6030d5" providerId="ADAL" clId="{020F8015-452F-48BE-BFAC-3B393D8E78FA}" dt="2024-01-02T13:30:02.268" v="13"/>
            <ac:spMkLst>
              <pc:docMk/>
              <pc:sldMasterMk cId="3156164027" sldId="2147483728"/>
              <pc:sldLayoutMk cId="3987278576" sldId="2147483753"/>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3987278576" sldId="2147483753"/>
              <ac:spMk id="7"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533941970" sldId="2147483754"/>
          </pc:sldLayoutMkLst>
          <pc:spChg chg="mod">
            <ac:chgData name="SP - Sonja Heynen-Pianka" userId="be06f938-f672-4a6f-92da-83ac3f6030d5" providerId="ADAL" clId="{020F8015-452F-48BE-BFAC-3B393D8E78FA}" dt="2024-01-02T13:30:02.268" v="13"/>
            <ac:spMkLst>
              <pc:docMk/>
              <pc:sldMasterMk cId="3156164027" sldId="2147483728"/>
              <pc:sldLayoutMk cId="2533941970" sldId="2147483754"/>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533941970" sldId="2147483754"/>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533941970" sldId="2147483754"/>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772590770" sldId="2147483755"/>
          </pc:sldLayoutMkLst>
          <pc:spChg chg="mod">
            <ac:chgData name="SP - Sonja Heynen-Pianka" userId="be06f938-f672-4a6f-92da-83ac3f6030d5" providerId="ADAL" clId="{020F8015-452F-48BE-BFAC-3B393D8E78FA}" dt="2024-01-02T13:30:02.268" v="13"/>
            <ac:spMkLst>
              <pc:docMk/>
              <pc:sldMasterMk cId="3156164027" sldId="2147483728"/>
              <pc:sldLayoutMk cId="1772590770" sldId="2147483755"/>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772590770" sldId="2147483755"/>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772590770" sldId="2147483755"/>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3602779732" sldId="2147483756"/>
          </pc:sldLayoutMkLst>
          <pc:spChg chg="mod">
            <ac:chgData name="SP - Sonja Heynen-Pianka" userId="be06f938-f672-4a6f-92da-83ac3f6030d5" providerId="ADAL" clId="{020F8015-452F-48BE-BFAC-3B393D8E78FA}" dt="2024-01-02T13:30:02.268" v="13"/>
            <ac:spMkLst>
              <pc:docMk/>
              <pc:sldMasterMk cId="3156164027" sldId="2147483728"/>
              <pc:sldLayoutMk cId="3602779732" sldId="2147483756"/>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3602779732" sldId="2147483756"/>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3602779732" sldId="2147483756"/>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655273798" sldId="2147483757"/>
          </pc:sldLayoutMkLst>
          <pc:spChg chg="mod">
            <ac:chgData name="SP - Sonja Heynen-Pianka" userId="be06f938-f672-4a6f-92da-83ac3f6030d5" providerId="ADAL" clId="{020F8015-452F-48BE-BFAC-3B393D8E78FA}" dt="2024-01-02T13:30:02.268" v="13"/>
            <ac:spMkLst>
              <pc:docMk/>
              <pc:sldMasterMk cId="3156164027" sldId="2147483728"/>
              <pc:sldLayoutMk cId="2655273798" sldId="2147483757"/>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655273798" sldId="2147483757"/>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655273798" sldId="2147483757"/>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912947245" sldId="2147483758"/>
          </pc:sldLayoutMkLst>
          <pc:spChg chg="mod">
            <ac:chgData name="SP - Sonja Heynen-Pianka" userId="be06f938-f672-4a6f-92da-83ac3f6030d5" providerId="ADAL" clId="{020F8015-452F-48BE-BFAC-3B393D8E78FA}" dt="2024-01-02T13:30:02.268" v="13"/>
            <ac:spMkLst>
              <pc:docMk/>
              <pc:sldMasterMk cId="3156164027" sldId="2147483728"/>
              <pc:sldLayoutMk cId="1912947245" sldId="2147483758"/>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912947245" sldId="2147483758"/>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912947245" sldId="2147483758"/>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83938133" sldId="2147483759"/>
          </pc:sldLayoutMkLst>
          <pc:spChg chg="mod">
            <ac:chgData name="SP - Sonja Heynen-Pianka" userId="be06f938-f672-4a6f-92da-83ac3f6030d5" providerId="ADAL" clId="{020F8015-452F-48BE-BFAC-3B393D8E78FA}" dt="2024-01-02T13:30:02.268" v="13"/>
            <ac:spMkLst>
              <pc:docMk/>
              <pc:sldMasterMk cId="3156164027" sldId="2147483728"/>
              <pc:sldLayoutMk cId="183938133" sldId="2147483759"/>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3938133" sldId="2147483759"/>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83938133" sldId="2147483759"/>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1547563337" sldId="2147483760"/>
          </pc:sldLayoutMkLst>
          <pc:spChg chg="mod">
            <ac:chgData name="SP - Sonja Heynen-Pianka" userId="be06f938-f672-4a6f-92da-83ac3f6030d5" providerId="ADAL" clId="{020F8015-452F-48BE-BFAC-3B393D8E78FA}" dt="2024-01-02T13:30:02.268" v="13"/>
            <ac:spMkLst>
              <pc:docMk/>
              <pc:sldMasterMk cId="3156164027" sldId="2147483728"/>
              <pc:sldLayoutMk cId="1547563337" sldId="2147483760"/>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547563337" sldId="2147483760"/>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1547563337" sldId="2147483760"/>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565360732" sldId="2147483761"/>
          </pc:sldLayoutMkLst>
          <pc:spChg chg="mod">
            <ac:chgData name="SP - Sonja Heynen-Pianka" userId="be06f938-f672-4a6f-92da-83ac3f6030d5" providerId="ADAL" clId="{020F8015-452F-48BE-BFAC-3B393D8E78FA}" dt="2024-01-02T13:30:02.268" v="13"/>
            <ac:spMkLst>
              <pc:docMk/>
              <pc:sldMasterMk cId="3156164027" sldId="2147483728"/>
              <pc:sldLayoutMk cId="565360732" sldId="2147483761"/>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565360732" sldId="2147483761"/>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565360732" sldId="2147483761"/>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177448286" sldId="2147483762"/>
          </pc:sldLayoutMkLst>
          <pc:spChg chg="mod">
            <ac:chgData name="SP - Sonja Heynen-Pianka" userId="be06f938-f672-4a6f-92da-83ac3f6030d5" providerId="ADAL" clId="{020F8015-452F-48BE-BFAC-3B393D8E78FA}" dt="2024-01-02T13:30:02.268" v="13"/>
            <ac:spMkLst>
              <pc:docMk/>
              <pc:sldMasterMk cId="3156164027" sldId="2147483728"/>
              <pc:sldLayoutMk cId="2177448286" sldId="2147483762"/>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177448286" sldId="2147483762"/>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177448286" sldId="2147483762"/>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605437179" sldId="2147483763"/>
          </pc:sldLayoutMkLst>
          <pc:spChg chg="mod">
            <ac:chgData name="SP - Sonja Heynen-Pianka" userId="be06f938-f672-4a6f-92da-83ac3f6030d5" providerId="ADAL" clId="{020F8015-452F-48BE-BFAC-3B393D8E78FA}" dt="2024-01-02T13:30:02.268" v="13"/>
            <ac:spMkLst>
              <pc:docMk/>
              <pc:sldMasterMk cId="3156164027" sldId="2147483728"/>
              <pc:sldLayoutMk cId="605437179" sldId="2147483763"/>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605437179" sldId="2147483763"/>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605437179" sldId="2147483763"/>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2873991610" sldId="2147483764"/>
          </pc:sldLayoutMkLst>
          <pc:spChg chg="mod">
            <ac:chgData name="SP - Sonja Heynen-Pianka" userId="be06f938-f672-4a6f-92da-83ac3f6030d5" providerId="ADAL" clId="{020F8015-452F-48BE-BFAC-3B393D8E78FA}" dt="2024-01-02T13:30:02.268" v="13"/>
            <ac:spMkLst>
              <pc:docMk/>
              <pc:sldMasterMk cId="3156164027" sldId="2147483728"/>
              <pc:sldLayoutMk cId="2873991610" sldId="2147483764"/>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873991610" sldId="2147483764"/>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873991610" sldId="2147483764"/>
              <ac:spMk id="6" creationId="{00000000-0000-0000-0000-000000000000}"/>
            </ac:spMkLst>
          </pc:spChg>
        </pc:sldLayoutChg>
        <pc:sldLayoutChg chg="modSp">
          <pc:chgData name="SP - Sonja Heynen-Pianka" userId="be06f938-f672-4a6f-92da-83ac3f6030d5" providerId="ADAL" clId="{020F8015-452F-48BE-BFAC-3B393D8E78FA}" dt="2024-01-02T13:30:02.268" v="13"/>
          <pc:sldLayoutMkLst>
            <pc:docMk/>
            <pc:sldMasterMk cId="3156164027" sldId="2147483728"/>
            <pc:sldLayoutMk cId="617004377" sldId="2147483765"/>
          </pc:sldLayoutMkLst>
          <pc:spChg chg="mod">
            <ac:chgData name="SP - Sonja Heynen-Pianka" userId="be06f938-f672-4a6f-92da-83ac3f6030d5" providerId="ADAL" clId="{020F8015-452F-48BE-BFAC-3B393D8E78FA}" dt="2024-01-02T13:30:02.268" v="13"/>
            <ac:spMkLst>
              <pc:docMk/>
              <pc:sldMasterMk cId="3156164027" sldId="2147483728"/>
              <pc:sldLayoutMk cId="617004377" sldId="2147483765"/>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617004377" sldId="2147483765"/>
              <ac:spMk id="3"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617004377" sldId="2147483765"/>
              <ac:spMk id="6" creationId="{00000000-0000-0000-0000-000000000000}"/>
            </ac:spMkLst>
          </pc:spChg>
        </pc:sldLayoutChg>
        <pc:sldLayoutChg chg="modSp del">
          <pc:chgData name="SP - Sonja Heynen-Pianka" userId="be06f938-f672-4a6f-92da-83ac3f6030d5" providerId="ADAL" clId="{020F8015-452F-48BE-BFAC-3B393D8E78FA}" dt="2024-01-02T13:31:01.576" v="15" actId="47"/>
          <pc:sldLayoutMkLst>
            <pc:docMk/>
            <pc:sldMasterMk cId="3156164027" sldId="2147483728"/>
            <pc:sldLayoutMk cId="2308327367" sldId="2147483766"/>
          </pc:sldLayoutMkLst>
          <pc:spChg chg="mod">
            <ac:chgData name="SP - Sonja Heynen-Pianka" userId="be06f938-f672-4a6f-92da-83ac3f6030d5" providerId="ADAL" clId="{020F8015-452F-48BE-BFAC-3B393D8E78FA}" dt="2024-01-02T13:30:02.268" v="13"/>
            <ac:spMkLst>
              <pc:docMk/>
              <pc:sldMasterMk cId="3156164027" sldId="2147483728"/>
              <pc:sldLayoutMk cId="2308327367" sldId="2147483766"/>
              <ac:spMk id="2"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308327367" sldId="2147483766"/>
              <ac:spMk id="7" creationId="{00000000-0000-0000-0000-000000000000}"/>
            </ac:spMkLst>
          </pc:spChg>
          <pc:spChg chg="mod">
            <ac:chgData name="SP - Sonja Heynen-Pianka" userId="be06f938-f672-4a6f-92da-83ac3f6030d5" providerId="ADAL" clId="{020F8015-452F-48BE-BFAC-3B393D8E78FA}" dt="2024-01-02T13:30:02.268" v="13"/>
            <ac:spMkLst>
              <pc:docMk/>
              <pc:sldMasterMk cId="3156164027" sldId="2147483728"/>
              <pc:sldLayoutMk cId="2308327367" sldId="2147483766"/>
              <ac:spMk id="16" creationId="{14F85FC3-DE01-428E-A8AA-30C814D878A4}"/>
            </ac:spMkLst>
          </pc:spChg>
          <pc:spChg chg="mod">
            <ac:chgData name="SP - Sonja Heynen-Pianka" userId="be06f938-f672-4a6f-92da-83ac3f6030d5" providerId="ADAL" clId="{020F8015-452F-48BE-BFAC-3B393D8E78FA}" dt="2024-01-02T13:30:02.268" v="13"/>
            <ac:spMkLst>
              <pc:docMk/>
              <pc:sldMasterMk cId="3156164027" sldId="2147483728"/>
              <pc:sldLayoutMk cId="2308327367" sldId="2147483766"/>
              <ac:spMk id="17" creationId="{A3793A77-B7B8-4A92-A55B-5C23D9746902}"/>
            </ac:spMkLst>
          </pc:spChg>
          <pc:picChg chg="mod">
            <ac:chgData name="SP - Sonja Heynen-Pianka" userId="be06f938-f672-4a6f-92da-83ac3f6030d5" providerId="ADAL" clId="{020F8015-452F-48BE-BFAC-3B393D8E78FA}" dt="2024-01-02T13:30:02.268" v="13"/>
            <ac:picMkLst>
              <pc:docMk/>
              <pc:sldMasterMk cId="3156164027" sldId="2147483728"/>
              <pc:sldLayoutMk cId="2308327367" sldId="2147483766"/>
              <ac:picMk id="14" creationId="{BE3F88AC-92C3-493A-9358-E564027306F5}"/>
            </ac:picMkLst>
          </pc:picChg>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02.01.2024</a:t>
            </a:fld>
            <a:endParaRPr lang="de-DE">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02.01.2024</a:t>
            </a:fld>
            <a:endParaRPr lang="de-DE"/>
          </a:p>
        </p:txBody>
      </p:sp>
      <p:sp>
        <p:nvSpPr>
          <p:cNvPr id="4" name="Folienbildplatzhalter 3"/>
          <p:cNvSpPr>
            <a:spLocks noGrp="1" noRot="1" noChangeAspect="1"/>
          </p:cNvSpPr>
          <p:nvPr>
            <p:ph type="sldImg" idx="2"/>
          </p:nvPr>
        </p:nvSpPr>
        <p:spPr>
          <a:xfrm>
            <a:off x="-322263" y="812800"/>
            <a:ext cx="6918326" cy="3892550"/>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638697"/>
            <a:ext cx="5075259"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959436"/>
            <a:ext cx="5075260"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3" name="Textfeld 2">
            <a:extLst>
              <a:ext uri="{FF2B5EF4-FFF2-40B4-BE49-F238E27FC236}">
                <a16:creationId xmlns:a16="http://schemas.microsoft.com/office/drawing/2014/main" id="{5A49B059-9806-6BAB-CEDF-507FF3E07FC5}"/>
              </a:ext>
            </a:extLst>
          </p:cNvPr>
          <p:cNvSpPr txBox="1"/>
          <p:nvPr userDrawn="1"/>
        </p:nvSpPr>
        <p:spPr bwMode="gray">
          <a:xfrm>
            <a:off x="3148445" y="5746173"/>
            <a:ext cx="0" cy="0"/>
          </a:xfrm>
          <a:prstGeom prst="rect">
            <a:avLst/>
          </a:prstGeom>
          <a:noFill/>
          <a:ln w="12700">
            <a:noFill/>
          </a:ln>
        </p:spPr>
        <p:txBody>
          <a:bodyPr vert="horz" wrap="none" lIns="0" tIns="0" rIns="0" bIns="0" rtlCol="0">
            <a:noAutofit/>
          </a:bodyPr>
          <a:lstStyle/>
          <a:p>
            <a:pPr algn="l" defTabSz="685783" rtl="0" eaLnBrk="1" fontAlgn="auto" hangingPunct="1">
              <a:lnSpc>
                <a:spcPct val="100000"/>
              </a:lnSpc>
              <a:spcBef>
                <a:spcPts val="300"/>
              </a:spcBef>
              <a:spcAft>
                <a:spcPts val="300"/>
              </a:spcAft>
              <a:buNone/>
            </a:pPr>
            <a:endParaRPr lang="de-DE" sz="1050" b="0" i="0" u="none" baseline="0" dirty="0" err="1">
              <a:solidFill>
                <a:schemeClr val="tx2"/>
              </a:solidFill>
            </a:endParaRPr>
          </a:p>
        </p:txBody>
      </p:sp>
    </p:spTree>
    <p:custDataLst>
      <p:tags r:id="rId1"/>
    </p:custDataLst>
    <p:extLst>
      <p:ext uri="{BB962C8B-B14F-4D97-AF65-F5344CB8AC3E}">
        <p14:creationId xmlns:p14="http://schemas.microsoft.com/office/powerpoint/2010/main" val="2902129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812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28215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9" y="1601093"/>
            <a:ext cx="5575303"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9AD063E-DFB6-B137-9799-A8F69599D419}"/>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383864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90" y="1601094"/>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90"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CDAB083-BB00-B449-A890-1B1DE88412A5}"/>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159546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3"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81" y="4254161"/>
            <a:ext cx="5326409" cy="844810"/>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67093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7"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5" y="1601094"/>
            <a:ext cx="1608432" cy="2181803"/>
          </a:xfrm>
          <a:solidFill>
            <a:schemeClr val="accent1"/>
          </a:solidFill>
        </p:spPr>
        <p:txBody>
          <a:bodyPr lIns="180000" tIns="72000" rIns="72000" bIns="72000"/>
          <a:lstStyle>
            <a:lvl1pPr>
              <a:lnSpc>
                <a:spcPct val="90000"/>
              </a:lnSpc>
              <a:spcBef>
                <a:spcPts val="0"/>
              </a:spcBef>
              <a:defRPr sz="1050" b="0">
                <a:solidFill>
                  <a:schemeClr val="bg1"/>
                </a:solidFill>
                <a:latin typeface="+mj-lt"/>
              </a:defRPr>
            </a:lvl1pPr>
            <a:lvl2pPr marL="0" indent="0">
              <a:lnSpc>
                <a:spcPct val="90000"/>
              </a:lnSpc>
              <a:spcBef>
                <a:spcPts val="0"/>
              </a:spcBef>
              <a:buClr>
                <a:schemeClr val="bg1"/>
              </a:buClr>
              <a:buSzPct val="110000"/>
              <a:buFontTx/>
              <a:buNone/>
              <a:defRPr sz="1050">
                <a:solidFill>
                  <a:schemeClr val="bg1"/>
                </a:solidFill>
                <a:latin typeface="Calibri" panose="020F0502020204030204" pitchFamily="34" charset="0"/>
              </a:defRPr>
            </a:lvl2pPr>
            <a:lvl3pPr marL="0" indent="0">
              <a:lnSpc>
                <a:spcPct val="90000"/>
              </a:lnSpc>
              <a:spcBef>
                <a:spcPts val="0"/>
              </a:spcBef>
              <a:buFontTx/>
              <a:buNone/>
              <a:defRPr sz="10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4"/>
            <a:ext cx="1608432" cy="2181803"/>
          </a:xfrm>
          <a:solidFill>
            <a:schemeClr val="accent5"/>
          </a:solidFill>
        </p:spPr>
        <p:txBody>
          <a:bodyPr lIns="180000" tIns="72000" rIns="72000" bIns="72000"/>
          <a:lstStyle>
            <a:lvl1pPr marL="0" indent="0" algn="l" defTabSz="685783" rtl="0" eaLnBrk="1" latinLnBrk="0" hangingPunct="1">
              <a:lnSpc>
                <a:spcPct val="90000"/>
              </a:lnSpc>
              <a:spcBef>
                <a:spcPts val="0"/>
              </a:spcBef>
              <a:spcAft>
                <a:spcPts val="300"/>
              </a:spcAft>
              <a:defRPr lang="de-DE" sz="1050" b="0" kern="1200" dirty="0">
                <a:solidFill>
                  <a:schemeClr val="bg1"/>
                </a:solidFill>
                <a:latin typeface="+mj-lt"/>
                <a:ea typeface="+mn-ea"/>
                <a:cs typeface="+mn-cs"/>
              </a:defRPr>
            </a:lvl1pPr>
            <a:lvl2pPr marL="108000" indent="-108000" algn="l" defTabSz="685783" rtl="0" eaLnBrk="1" latinLnBrk="0" hangingPunct="1">
              <a:lnSpc>
                <a:spcPct val="90000"/>
              </a:lnSpc>
              <a:spcBef>
                <a:spcPts val="0"/>
              </a:spcBef>
              <a:spcAft>
                <a:spcPts val="300"/>
              </a:spcAft>
              <a:buSzPct val="110000"/>
              <a:buFontTx/>
              <a:buBlip>
                <a:blip r:embed="rId3">
                  <a:extLst>
                    <a:ext uri="{96DAC541-7B7A-43D3-8B79-37D633B846F1}">
                      <asvg:svgBlip xmlns:asvg="http://schemas.microsoft.com/office/drawing/2016/SVG/main" r:embed="rId4"/>
                    </a:ext>
                  </a:extLst>
                </a:blip>
              </a:buBlip>
              <a:defRPr lang="de-DE" sz="1050" b="0" kern="1200" dirty="0">
                <a:solidFill>
                  <a:schemeClr val="bg1"/>
                </a:solidFill>
                <a:latin typeface="+mj-lt"/>
                <a:ea typeface="+mn-ea"/>
                <a:cs typeface="+mn-cs"/>
              </a:defRPr>
            </a:lvl2pPr>
            <a:lvl3pPr marL="0" indent="0" algn="l" defTabSz="685783" rtl="0" eaLnBrk="1" latinLnBrk="0" hangingPunct="1">
              <a:lnSpc>
                <a:spcPct val="90000"/>
              </a:lnSpc>
              <a:spcBef>
                <a:spcPts val="0"/>
              </a:spcBef>
              <a:spcAft>
                <a:spcPts val="300"/>
              </a:spcAft>
              <a:buFontTx/>
              <a:buNone/>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7"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5" y="3926896"/>
            <a:ext cx="1608432" cy="2181803"/>
          </a:xfrm>
          <a:solidFill>
            <a:schemeClr val="accent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6"/>
            <a:ext cx="1608432" cy="2181803"/>
          </a:xfrm>
          <a:solidFill>
            <a:schemeClr val="tx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43F1EEE2-A845-1A2D-0D6D-89DD618BD01E}"/>
              </a:ext>
            </a:extLst>
          </p:cNvPr>
          <p:cNvPicPr>
            <a:picLocks noChangeAspect="1"/>
          </p:cNvPicPr>
          <p:nvPr userDrawn="1"/>
        </p:nvPicPr>
        <p:blipFill>
          <a:blip r:embed="rId5"/>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507576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2"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0" y="1601094"/>
            <a:ext cx="8013523"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45F9578C-541C-E650-548B-45ADD4E8D1A0}"/>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1804111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3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21231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1"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4827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6"/>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5"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0422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7"/>
            <a:ext cx="5075259"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663685"/>
            <a:ext cx="5075260"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425931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1"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1"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609524"/>
            <a:ext cx="751211"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2" y="3534645"/>
            <a:ext cx="2987948"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97987"/>
            <a:ext cx="751211"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1"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70"/>
            <a:ext cx="3600016"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8378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1" y="1936859"/>
            <a:ext cx="5176700"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7" y="5750678"/>
            <a:ext cx="2984700"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1"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7" y="596550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7" y="618386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7" y="6398689"/>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59363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2"/>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3" y="5064468"/>
            <a:ext cx="11145835" cy="1028358"/>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4976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elfolie ohne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bg1"/>
              </a:solidFill>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8001" y="5013176"/>
            <a:ext cx="4687289" cy="1228838"/>
          </a:xfrm>
          <a:prstGeom prst="rect">
            <a:avLst/>
          </a:prstGeom>
        </p:spPr>
      </p:pic>
    </p:spTree>
    <p:extLst>
      <p:ext uri="{BB962C8B-B14F-4D97-AF65-F5344CB8AC3E}">
        <p14:creationId xmlns:p14="http://schemas.microsoft.com/office/powerpoint/2010/main" val="4895398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040000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el, Unter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87278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5339419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772590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027797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655273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4" y="1600200"/>
            <a:ext cx="6102927"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6"/>
            <a:ext cx="5288096"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AC8D7CD1-CF6C-7C61-41DE-5EEE0F29DB88}"/>
              </a:ext>
            </a:extLst>
          </p:cNvPr>
          <p:cNvPicPr>
            <a:picLocks noChangeAspect="1"/>
          </p:cNvPicPr>
          <p:nvPr userDrawn="1"/>
        </p:nvPicPr>
        <p:blipFill>
          <a:blip r:embed="rId3"/>
          <a:stretch>
            <a:fillRect/>
          </a:stretch>
        </p:blipFill>
        <p:spPr>
          <a:xfrm>
            <a:off x="7193986" y="246116"/>
            <a:ext cx="4419983" cy="1255885"/>
          </a:xfrm>
          <a:prstGeom prst="rect">
            <a:avLst/>
          </a:prstGeom>
        </p:spPr>
      </p:pic>
    </p:spTree>
    <p:custDataLst>
      <p:tags r:id="rId1"/>
    </p:custDataLst>
    <p:extLst>
      <p:ext uri="{BB962C8B-B14F-4D97-AF65-F5344CB8AC3E}">
        <p14:creationId xmlns:p14="http://schemas.microsoft.com/office/powerpoint/2010/main" val="2208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9129472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839381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547563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5653607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774482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054371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739916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17004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4" y="3684222"/>
            <a:ext cx="5571988"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7"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3"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0636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2" y="1601093"/>
            <a:ext cx="11145837"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76633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3" y="1601093"/>
            <a:ext cx="5497513"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9"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46493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44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3"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6170614"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0721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6"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9888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41">
            <a:alphaModFix/>
          </a:blip>
          <a:stretch>
            <a:fillRect/>
          </a:stretch>
        </p:blipFill>
        <p:spPr>
          <a:xfrm>
            <a:off x="5251121"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3"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9" y="6525203"/>
            <a:ext cx="322052"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40"/>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05183F9F-7A9D-9A6D-6DE8-A5936B4BCEE3}"/>
              </a:ext>
            </a:extLst>
          </p:cNvPr>
          <p:cNvPicPr>
            <a:picLocks noChangeAspect="1"/>
          </p:cNvPicPr>
          <p:nvPr userDrawn="1"/>
        </p:nvPicPr>
        <p:blipFill>
          <a:blip r:embed="rId42"/>
          <a:stretch>
            <a:fillRect/>
          </a:stretch>
        </p:blipFill>
        <p:spPr>
          <a:xfrm>
            <a:off x="9809019" y="565601"/>
            <a:ext cx="1978556" cy="562183"/>
          </a:xfrm>
          <a:prstGeom prst="rect">
            <a:avLst/>
          </a:prstGeom>
        </p:spPr>
      </p:pic>
    </p:spTree>
    <p:custDataLst>
      <p:tags r:id="rId39"/>
    </p:custDataLst>
    <p:extLst>
      <p:ext uri="{BB962C8B-B14F-4D97-AF65-F5344CB8AC3E}">
        <p14:creationId xmlns:p14="http://schemas.microsoft.com/office/powerpoint/2010/main" val="315616402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433" userDrawn="1">
          <p15:clr>
            <a:srgbClr val="F26B43"/>
          </p15:clr>
        </p15:guide>
        <p15:guide id="3" pos="9804" userDrawn="1">
          <p15:clr>
            <a:srgbClr val="F26B43"/>
          </p15:clr>
        </p15:guide>
        <p15:guide id="11" orient="horz" pos="1003" userDrawn="1">
          <p15:clr>
            <a:srgbClr val="F26B43"/>
          </p15:clr>
        </p15:guide>
        <p15:guide id="16" orient="horz" pos="3838" userDrawn="1">
          <p15:clr>
            <a:srgbClr val="F26B43"/>
          </p15:clr>
        </p15:guide>
        <p15:guide id="18" pos="51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oleObject" Target="../embeddings/oleObject1.bin"/><Relationship Id="rId1" Type="http://schemas.openxmlformats.org/officeDocument/2006/relationships/slideLayout" Target="../slideLayouts/slideLayout27.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Person, Kleidung, Menschliches Gesicht, Fenster enthält.&#10;&#10;Automatisch generierte Beschreibung">
            <a:extLst>
              <a:ext uri="{FF2B5EF4-FFF2-40B4-BE49-F238E27FC236}">
                <a16:creationId xmlns:a16="http://schemas.microsoft.com/office/drawing/2014/main" id="{E5CFC9EA-E2B1-AC79-F8C0-AD4624F51747}"/>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l="18346" r="18346"/>
          <a:stretch>
            <a:fillRect/>
          </a:stretch>
        </p:blipFill>
        <p:spPr/>
      </p:pic>
      <p:sp>
        <p:nvSpPr>
          <p:cNvPr id="3" name="Titel 2"/>
          <p:cNvSpPr>
            <a:spLocks noGrp="1"/>
          </p:cNvSpPr>
          <p:nvPr>
            <p:ph type="title"/>
          </p:nvPr>
        </p:nvSpPr>
        <p:spPr/>
        <p:txBody>
          <a:bodyPr/>
          <a:lstStyle/>
          <a:p>
            <a:r>
              <a:rPr lang="de-DE" dirty="0"/>
              <a:t>Psychische Belastung</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BF3EA83-DF14-4BAC-BEA9-1138744B5E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5625" y="1529300"/>
            <a:ext cx="2672123" cy="4419980"/>
          </a:xfrm>
          <a:prstGeom prst="rect">
            <a:avLst/>
          </a:prstGeom>
        </p:spPr>
      </p:pic>
      <p:sp>
        <p:nvSpPr>
          <p:cNvPr id="29699" name="Titel 4"/>
          <p:cNvSpPr>
            <a:spLocks noGrp="1"/>
          </p:cNvSpPr>
          <p:nvPr>
            <p:ph type="title"/>
          </p:nvPr>
        </p:nvSpPr>
        <p:spPr/>
        <p:txBody>
          <a:bodyPr/>
          <a:lstStyle/>
          <a:p>
            <a:r>
              <a:rPr lang="de-DE" altLang="de-DE"/>
              <a:t>Akute körperliche Stressreaktionen</a:t>
            </a:r>
          </a:p>
        </p:txBody>
      </p:sp>
      <p:sp>
        <p:nvSpPr>
          <p:cNvPr id="29700" name="Grafik 3" descr="Körper Mensch.JPG"/>
          <p:cNvSpPr>
            <a:spLocks noChangeAspect="1"/>
          </p:cNvSpPr>
          <p:nvPr/>
        </p:nvSpPr>
        <p:spPr bwMode="auto">
          <a:xfrm>
            <a:off x="2620964" y="1458914"/>
            <a:ext cx="3400425" cy="460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7" name="Legende mit Linie 1 4"/>
          <p:cNvSpPr>
            <a:spLocks/>
          </p:cNvSpPr>
          <p:nvPr/>
        </p:nvSpPr>
        <p:spPr bwMode="auto">
          <a:xfrm>
            <a:off x="6456040" y="1514600"/>
            <a:ext cx="3359150" cy="233363"/>
          </a:xfrm>
          <a:prstGeom prst="borderCallout1">
            <a:avLst>
              <a:gd name="adj1" fmla="val 18750"/>
              <a:gd name="adj2" fmla="val -8333"/>
              <a:gd name="adj3" fmla="val 89532"/>
              <a:gd name="adj4" fmla="val -69130"/>
            </a:avLst>
          </a:prstGeom>
          <a:solidFill>
            <a:srgbClr val="005DA8"/>
          </a:solidFill>
          <a:ln w="25400">
            <a:solidFill>
              <a:srgbClr val="969696"/>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solidFill>
                  <a:srgbClr val="FFFFFF"/>
                </a:solidFill>
                <a:latin typeface="+mn-lt"/>
                <a:ea typeface="Arial" charset="0"/>
                <a:cs typeface="Arial" charset="0"/>
              </a:rPr>
              <a:t>Aktivierung des Gehirns</a:t>
            </a:r>
          </a:p>
        </p:txBody>
      </p:sp>
      <p:sp>
        <p:nvSpPr>
          <p:cNvPr id="8" name="Legende mit Linie 1 5"/>
          <p:cNvSpPr>
            <a:spLocks/>
          </p:cNvSpPr>
          <p:nvPr/>
        </p:nvSpPr>
        <p:spPr bwMode="auto">
          <a:xfrm>
            <a:off x="6440166" y="1913062"/>
            <a:ext cx="3375025" cy="233362"/>
          </a:xfrm>
          <a:prstGeom prst="borderCallout1">
            <a:avLst>
              <a:gd name="adj1" fmla="val 18750"/>
              <a:gd name="adj2" fmla="val -8333"/>
              <a:gd name="adj3" fmla="val 84738"/>
              <a:gd name="adj4" fmla="val -71944"/>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trockener Mund</a:t>
            </a:r>
          </a:p>
        </p:txBody>
      </p:sp>
      <p:sp>
        <p:nvSpPr>
          <p:cNvPr id="9" name="Legende mit Linie 1 6"/>
          <p:cNvSpPr>
            <a:spLocks/>
          </p:cNvSpPr>
          <p:nvPr/>
        </p:nvSpPr>
        <p:spPr bwMode="auto">
          <a:xfrm>
            <a:off x="6456040" y="2313112"/>
            <a:ext cx="3359150" cy="233362"/>
          </a:xfrm>
          <a:prstGeom prst="borderCallout1">
            <a:avLst>
              <a:gd name="adj1" fmla="val 18750"/>
              <a:gd name="adj2" fmla="val -8333"/>
              <a:gd name="adj3" fmla="val 195210"/>
              <a:gd name="adj4" fmla="val -65006"/>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schnellere Atmung</a:t>
            </a:r>
          </a:p>
        </p:txBody>
      </p:sp>
      <p:sp>
        <p:nvSpPr>
          <p:cNvPr id="10" name="Legende mit Linie 1 7"/>
          <p:cNvSpPr>
            <a:spLocks/>
          </p:cNvSpPr>
          <p:nvPr/>
        </p:nvSpPr>
        <p:spPr bwMode="auto">
          <a:xfrm>
            <a:off x="6456040" y="2711575"/>
            <a:ext cx="3359150" cy="233363"/>
          </a:xfrm>
          <a:prstGeom prst="borderCallout1">
            <a:avLst>
              <a:gd name="adj1" fmla="val 18750"/>
              <a:gd name="adj2" fmla="val -8333"/>
              <a:gd name="adj3" fmla="val -26051"/>
              <a:gd name="adj4" fmla="val -69964"/>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höherer Blutdruck, schnellerer Puls</a:t>
            </a:r>
          </a:p>
        </p:txBody>
      </p:sp>
      <p:sp>
        <p:nvSpPr>
          <p:cNvPr id="11" name="Legende mit Linie 1 8"/>
          <p:cNvSpPr>
            <a:spLocks/>
          </p:cNvSpPr>
          <p:nvPr/>
        </p:nvSpPr>
        <p:spPr bwMode="auto">
          <a:xfrm>
            <a:off x="6456040" y="3073525"/>
            <a:ext cx="3359150" cy="233363"/>
          </a:xfrm>
          <a:prstGeom prst="borderCallout1">
            <a:avLst>
              <a:gd name="adj1" fmla="val 18750"/>
              <a:gd name="adj2" fmla="val -8333"/>
              <a:gd name="adj3" fmla="val 128130"/>
              <a:gd name="adj4" fmla="val -49693"/>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Schwitzen</a:t>
            </a:r>
          </a:p>
        </p:txBody>
      </p:sp>
      <p:sp>
        <p:nvSpPr>
          <p:cNvPr id="12" name="Legende mit Linie 1 9"/>
          <p:cNvSpPr>
            <a:spLocks/>
          </p:cNvSpPr>
          <p:nvPr/>
        </p:nvSpPr>
        <p:spPr bwMode="auto">
          <a:xfrm>
            <a:off x="6456040" y="3437062"/>
            <a:ext cx="3359150" cy="233362"/>
          </a:xfrm>
          <a:prstGeom prst="borderCallout1">
            <a:avLst>
              <a:gd name="adj1" fmla="val 18750"/>
              <a:gd name="adj2" fmla="val -8333"/>
              <a:gd name="adj3" fmla="val 3692"/>
              <a:gd name="adj4" fmla="val -76038"/>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Energiebereitstellung</a:t>
            </a:r>
          </a:p>
        </p:txBody>
      </p:sp>
      <p:sp>
        <p:nvSpPr>
          <p:cNvPr id="13" name="Legende mit Linie 1 10"/>
          <p:cNvSpPr>
            <a:spLocks/>
          </p:cNvSpPr>
          <p:nvPr/>
        </p:nvSpPr>
        <p:spPr bwMode="auto">
          <a:xfrm>
            <a:off x="6456040" y="3786312"/>
            <a:ext cx="3359150" cy="233362"/>
          </a:xfrm>
          <a:prstGeom prst="borderCallout1">
            <a:avLst>
              <a:gd name="adj1" fmla="val 18750"/>
              <a:gd name="adj2" fmla="val -8333"/>
              <a:gd name="adj3" fmla="val 244500"/>
              <a:gd name="adj4" fmla="val -67727"/>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solidFill>
                  <a:srgbClr val="FFFFFF"/>
                </a:solidFill>
                <a:latin typeface="+mn-lt"/>
                <a:ea typeface="Arial" charset="0"/>
                <a:cs typeface="Arial" charset="0"/>
              </a:rPr>
              <a:t>Hemmung der Verdauung</a:t>
            </a:r>
          </a:p>
        </p:txBody>
      </p:sp>
      <p:sp>
        <p:nvSpPr>
          <p:cNvPr id="14" name="Legende mit Linie 1 11"/>
          <p:cNvSpPr>
            <a:spLocks/>
          </p:cNvSpPr>
          <p:nvPr/>
        </p:nvSpPr>
        <p:spPr bwMode="auto">
          <a:xfrm>
            <a:off x="6456040" y="4126037"/>
            <a:ext cx="3359150" cy="233362"/>
          </a:xfrm>
          <a:prstGeom prst="borderCallout1">
            <a:avLst>
              <a:gd name="adj1" fmla="val 18750"/>
              <a:gd name="adj2" fmla="val -8333"/>
              <a:gd name="adj3" fmla="val 181611"/>
              <a:gd name="adj4" fmla="val -59409"/>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solidFill>
                  <a:srgbClr val="FFFFFF"/>
                </a:solidFill>
                <a:latin typeface="+mn-lt"/>
                <a:ea typeface="Arial" charset="0"/>
                <a:cs typeface="Arial" charset="0"/>
              </a:rPr>
              <a:t>verbesserte Blutgerinnung</a:t>
            </a:r>
          </a:p>
        </p:txBody>
      </p:sp>
      <p:sp>
        <p:nvSpPr>
          <p:cNvPr id="15" name="Legende mit Linie 1 12"/>
          <p:cNvSpPr>
            <a:spLocks/>
          </p:cNvSpPr>
          <p:nvPr/>
        </p:nvSpPr>
        <p:spPr bwMode="auto">
          <a:xfrm>
            <a:off x="6456040" y="4489575"/>
            <a:ext cx="3359150" cy="231775"/>
          </a:xfrm>
          <a:prstGeom prst="borderCallout1">
            <a:avLst>
              <a:gd name="adj1" fmla="val 18750"/>
              <a:gd name="adj2" fmla="val -8333"/>
              <a:gd name="adj3" fmla="val 166861"/>
              <a:gd name="adj4" fmla="val -56826"/>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algn="ctr" eaLnBrk="1" hangingPunct="1">
              <a:spcBef>
                <a:spcPct val="50000"/>
              </a:spcBef>
            </a:pPr>
            <a:r>
              <a:rPr lang="de-DE" altLang="de-DE" sz="1600">
                <a:solidFill>
                  <a:srgbClr val="FFFFFF"/>
                </a:solidFill>
                <a:ea typeface="Arial" charset="0"/>
                <a:cs typeface="Arial" charset="0"/>
              </a:rPr>
              <a:t>kalte Hände und Füße</a:t>
            </a:r>
          </a:p>
        </p:txBody>
      </p:sp>
      <p:sp>
        <p:nvSpPr>
          <p:cNvPr id="16" name="Legende mit Linie 1 13"/>
          <p:cNvSpPr>
            <a:spLocks/>
          </p:cNvSpPr>
          <p:nvPr/>
        </p:nvSpPr>
        <p:spPr bwMode="auto">
          <a:xfrm>
            <a:off x="6456041" y="4815012"/>
            <a:ext cx="3375025" cy="233362"/>
          </a:xfrm>
          <a:prstGeom prst="borderCallout1">
            <a:avLst>
              <a:gd name="adj1" fmla="val 18750"/>
              <a:gd name="adj2" fmla="val -8333"/>
              <a:gd name="adj3" fmla="val 187759"/>
              <a:gd name="adj4" fmla="val -55775"/>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solidFill>
                  <a:srgbClr val="FFFFFF"/>
                </a:solidFill>
                <a:latin typeface="+mn-lt"/>
                <a:ea typeface="Arial" charset="0"/>
                <a:cs typeface="Arial" charset="0"/>
              </a:rPr>
              <a:t>höhere Muskelspannung</a:t>
            </a:r>
          </a:p>
        </p:txBody>
      </p:sp>
      <p:sp>
        <p:nvSpPr>
          <p:cNvPr id="17" name="Legende mit Linie 1 14"/>
          <p:cNvSpPr>
            <a:spLocks/>
          </p:cNvSpPr>
          <p:nvPr/>
        </p:nvSpPr>
        <p:spPr bwMode="auto">
          <a:xfrm>
            <a:off x="6456040" y="5186487"/>
            <a:ext cx="3359150" cy="233362"/>
          </a:xfrm>
          <a:prstGeom prst="borderCallout1">
            <a:avLst>
              <a:gd name="adj1" fmla="val 18750"/>
              <a:gd name="adj2" fmla="val -8333"/>
              <a:gd name="adj3" fmla="val 135662"/>
              <a:gd name="adj4" fmla="val -56977"/>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solidFill>
                  <a:srgbClr val="FFFFFF"/>
                </a:solidFill>
                <a:latin typeface="+mn-lt"/>
                <a:ea typeface="Arial" charset="0"/>
                <a:cs typeface="Arial" charset="0"/>
              </a:rPr>
              <a:t>erhöhte Schmerztoleranz</a:t>
            </a:r>
          </a:p>
        </p:txBody>
      </p:sp>
      <p:sp>
        <p:nvSpPr>
          <p:cNvPr id="18" name="Legende mit Linie 1 15"/>
          <p:cNvSpPr>
            <a:spLocks/>
          </p:cNvSpPr>
          <p:nvPr/>
        </p:nvSpPr>
        <p:spPr bwMode="auto">
          <a:xfrm>
            <a:off x="6456040" y="5540500"/>
            <a:ext cx="3359150" cy="233363"/>
          </a:xfrm>
          <a:prstGeom prst="borderCallout1">
            <a:avLst>
              <a:gd name="adj1" fmla="val 18750"/>
              <a:gd name="adj2" fmla="val -8333"/>
              <a:gd name="adj3" fmla="val 57523"/>
              <a:gd name="adj4" fmla="val -55898"/>
            </a:avLst>
          </a:prstGeom>
          <a:solidFill>
            <a:srgbClr val="005DA8"/>
          </a:solidFill>
          <a:ln w="25400">
            <a:solidFill>
              <a:srgbClr val="808080"/>
            </a:solidFill>
            <a:miter lim="800000"/>
            <a:headEnd/>
            <a:tailEnd/>
          </a:ln>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solidFill>
                  <a:srgbClr val="FFFFFF"/>
                </a:solidFill>
                <a:latin typeface="+mn-lt"/>
                <a:ea typeface="Arial" charset="0"/>
                <a:cs typeface="Arial" charset="0"/>
              </a:rPr>
              <a:t>erhöhte Immunreaktion</a:t>
            </a:r>
          </a:p>
        </p:txBody>
      </p:sp>
      <p:sp>
        <p:nvSpPr>
          <p:cNvPr id="2" name="Rechteck 1">
            <a:extLst>
              <a:ext uri="{FF2B5EF4-FFF2-40B4-BE49-F238E27FC236}">
                <a16:creationId xmlns:a16="http://schemas.microsoft.com/office/drawing/2014/main" id="{8915CF3D-1CA2-459D-B4F6-FBDF073063C8}"/>
              </a:ext>
            </a:extLst>
          </p:cNvPr>
          <p:cNvSpPr/>
          <p:nvPr/>
        </p:nvSpPr>
        <p:spPr>
          <a:xfrm>
            <a:off x="5467206" y="3244334"/>
            <a:ext cx="248786" cy="369332"/>
          </a:xfrm>
          <a:prstGeom prst="rect">
            <a:avLst/>
          </a:prstGeom>
        </p:spPr>
        <p:txBody>
          <a:bodyPr wrap="none">
            <a:spAutoFit/>
          </a:bodyPr>
          <a:lstStyle/>
          <a:p>
            <a:r>
              <a:rPr lang="de-DE" dirty="0">
                <a:solidFill>
                  <a:srgbClr val="686868"/>
                </a:solidFill>
                <a:latin typeface="Arial" panose="020B0604020202020204" pitchFamily="34" charset="0"/>
              </a:rPr>
              <a:t> </a:t>
            </a:r>
            <a:endParaRPr lang="de-DE" dirty="0"/>
          </a:p>
        </p:txBody>
      </p:sp>
      <p:sp>
        <p:nvSpPr>
          <p:cNvPr id="3" name="Rechteck 2">
            <a:extLst>
              <a:ext uri="{FF2B5EF4-FFF2-40B4-BE49-F238E27FC236}">
                <a16:creationId xmlns:a16="http://schemas.microsoft.com/office/drawing/2014/main" id="{CD8D5FCD-43A9-475D-9066-B8DE83EBF5E7}"/>
              </a:ext>
            </a:extLst>
          </p:cNvPr>
          <p:cNvSpPr/>
          <p:nvPr/>
        </p:nvSpPr>
        <p:spPr>
          <a:xfrm>
            <a:off x="4079776" y="5906291"/>
            <a:ext cx="1088760" cy="215444"/>
          </a:xfrm>
          <a:prstGeom prst="rect">
            <a:avLst/>
          </a:prstGeom>
        </p:spPr>
        <p:txBody>
          <a:bodyPr wrap="none">
            <a:spAutoFit/>
          </a:bodyPr>
          <a:lstStyle/>
          <a:p>
            <a:r>
              <a:rPr lang="de-DE" sz="800" dirty="0">
                <a:solidFill>
                  <a:schemeClr val="bg1">
                    <a:lumMod val="65000"/>
                  </a:schemeClr>
                </a:solidFill>
              </a:rPr>
              <a:t>© Fotolia - 68115300 </a:t>
            </a:r>
          </a:p>
        </p:txBody>
      </p:sp>
    </p:spTree>
    <p:extLst>
      <p:ext uri="{BB962C8B-B14F-4D97-AF65-F5344CB8AC3E}">
        <p14:creationId xmlns:p14="http://schemas.microsoft.com/office/powerpoint/2010/main" val="1853101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Person, Mann, drinnen, Schlittschuhlaufen enthält.&#10;&#10;Mit hoher Zuverlässigkeit generierte Beschreibung">
            <a:extLst>
              <a:ext uri="{FF2B5EF4-FFF2-40B4-BE49-F238E27FC236}">
                <a16:creationId xmlns:a16="http://schemas.microsoft.com/office/drawing/2014/main" id="{B35BA1D9-2BC6-41AB-A90A-1CD6D9A5CE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56356" y="2132856"/>
            <a:ext cx="4661891" cy="3160762"/>
          </a:xfrm>
          <a:prstGeom prst="rect">
            <a:avLst/>
          </a:prstGeom>
          <a:effectLst>
            <a:softEdge rad="112522"/>
          </a:effectLst>
        </p:spPr>
      </p:pic>
      <p:sp>
        <p:nvSpPr>
          <p:cNvPr id="2" name="Inhaltsplatzhalter 1"/>
          <p:cNvSpPr>
            <a:spLocks noGrp="1"/>
          </p:cNvSpPr>
          <p:nvPr>
            <p:ph idx="1"/>
          </p:nvPr>
        </p:nvSpPr>
        <p:spPr>
          <a:xfrm>
            <a:off x="1889714" y="1196752"/>
            <a:ext cx="4103687" cy="4508500"/>
          </a:xfrm>
        </p:spPr>
        <p:txBody>
          <a:bodyPr rtlCol="0">
            <a:noAutofit/>
          </a:bodyPr>
          <a:lstStyle/>
          <a:p>
            <a:pPr>
              <a:spcAft>
                <a:spcPts val="0"/>
              </a:spcAft>
              <a:buNone/>
              <a:defRPr/>
            </a:pPr>
            <a:r>
              <a:rPr lang="de-DE" b="1" u="sng" dirty="0"/>
              <a:t>Körperliche Symptome</a:t>
            </a:r>
          </a:p>
          <a:p>
            <a:pPr>
              <a:spcAft>
                <a:spcPts val="0"/>
              </a:spcAft>
              <a:buNone/>
              <a:defRPr/>
            </a:pPr>
            <a:endParaRPr lang="de-DE" b="1" u="sng" dirty="0"/>
          </a:p>
          <a:p>
            <a:pPr marL="216000" indent="-216000">
              <a:spcAft>
                <a:spcPts val="0"/>
              </a:spcAft>
              <a:buFont typeface="Arial" charset="0"/>
              <a:buChar char="•"/>
              <a:defRPr/>
            </a:pPr>
            <a:r>
              <a:rPr lang="de-DE" dirty="0"/>
              <a:t>Schwindel, Bluthochdruck, Herzrasen, Atembeschwerden</a:t>
            </a:r>
          </a:p>
          <a:p>
            <a:pPr marL="216000" indent="-216000">
              <a:spcAft>
                <a:spcPts val="0"/>
              </a:spcAft>
              <a:buFont typeface="Arial" charset="0"/>
              <a:buChar char="•"/>
              <a:defRPr/>
            </a:pPr>
            <a:r>
              <a:rPr lang="de-DE" dirty="0"/>
              <a:t>Muskelverspannungen</a:t>
            </a:r>
          </a:p>
          <a:p>
            <a:pPr marL="216000" indent="-216000">
              <a:spcAft>
                <a:spcPts val="0"/>
              </a:spcAft>
              <a:buFont typeface="Arial" charset="0"/>
              <a:buChar char="•"/>
              <a:defRPr/>
            </a:pPr>
            <a:r>
              <a:rPr lang="de-DE" dirty="0"/>
              <a:t>Störungen des Magen-Darm-Traktes, z. B. Durchfall </a:t>
            </a:r>
          </a:p>
          <a:p>
            <a:pPr marL="216000" indent="-216000">
              <a:spcAft>
                <a:spcPts val="0"/>
              </a:spcAft>
              <a:buFont typeface="Arial" charset="0"/>
              <a:buChar char="•"/>
              <a:defRPr/>
            </a:pPr>
            <a:r>
              <a:rPr lang="de-DE" dirty="0"/>
              <a:t>Appetitlosigkeit oder Heißhunger</a:t>
            </a:r>
          </a:p>
          <a:p>
            <a:pPr marL="216000" indent="-216000">
              <a:spcAft>
                <a:spcPts val="0"/>
              </a:spcAft>
              <a:buFont typeface="Arial" charset="0"/>
              <a:buChar char="•"/>
              <a:defRPr/>
            </a:pPr>
            <a:r>
              <a:rPr lang="de-DE" dirty="0"/>
              <a:t>Erschöpfung</a:t>
            </a:r>
          </a:p>
          <a:p>
            <a:pPr marL="216000" indent="-216000">
              <a:spcAft>
                <a:spcPts val="0"/>
              </a:spcAft>
              <a:buFont typeface="Arial" charset="0"/>
              <a:buChar char="•"/>
              <a:defRPr/>
            </a:pPr>
            <a:r>
              <a:rPr lang="de-DE" dirty="0"/>
              <a:t>Konzentrationsstörungen</a:t>
            </a:r>
          </a:p>
          <a:p>
            <a:pPr marL="216000" indent="-216000">
              <a:spcAft>
                <a:spcPts val="0"/>
              </a:spcAft>
              <a:buFont typeface="Arial" charset="0"/>
              <a:buChar char="•"/>
              <a:defRPr/>
            </a:pPr>
            <a:r>
              <a:rPr lang="de-DE" dirty="0"/>
              <a:t>Schlafstörungen </a:t>
            </a:r>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p:txBody>
      </p:sp>
      <p:sp>
        <p:nvSpPr>
          <p:cNvPr id="30724" name="Titel 4"/>
          <p:cNvSpPr>
            <a:spLocks noGrp="1"/>
          </p:cNvSpPr>
          <p:nvPr>
            <p:ph type="title"/>
          </p:nvPr>
        </p:nvSpPr>
        <p:spPr/>
        <p:txBody>
          <a:bodyPr/>
          <a:lstStyle/>
          <a:p>
            <a:r>
              <a:rPr lang="de-DE" altLang="de-DE" dirty="0"/>
              <a:t>Wie erkennt man eine psychische Belastung?</a:t>
            </a:r>
          </a:p>
        </p:txBody>
      </p:sp>
      <p:sp>
        <p:nvSpPr>
          <p:cNvPr id="3" name="Rechteck 2">
            <a:extLst>
              <a:ext uri="{FF2B5EF4-FFF2-40B4-BE49-F238E27FC236}">
                <a16:creationId xmlns:a16="http://schemas.microsoft.com/office/drawing/2014/main" id="{579ED2A4-D5CF-4422-815E-F90B02244968}"/>
              </a:ext>
            </a:extLst>
          </p:cNvPr>
          <p:cNvSpPr/>
          <p:nvPr/>
        </p:nvSpPr>
        <p:spPr>
          <a:xfrm>
            <a:off x="9290014" y="5176269"/>
            <a:ext cx="1140056" cy="215444"/>
          </a:xfrm>
          <a:prstGeom prst="rect">
            <a:avLst/>
          </a:prstGeom>
        </p:spPr>
        <p:txBody>
          <a:bodyPr wrap="none">
            <a:spAutoFit/>
          </a:bodyPr>
          <a:lstStyle/>
          <a:p>
            <a:r>
              <a:rPr lang="de-DE" sz="800" dirty="0">
                <a:solidFill>
                  <a:schemeClr val="bg1">
                    <a:lumMod val="65000"/>
                  </a:schemeClr>
                </a:solidFill>
              </a:rPr>
              <a:t>© Fotolia - 161866482 </a:t>
            </a:r>
          </a:p>
        </p:txBody>
      </p:sp>
    </p:spTree>
    <p:extLst>
      <p:ext uri="{BB962C8B-B14F-4D97-AF65-F5344CB8AC3E}">
        <p14:creationId xmlns:p14="http://schemas.microsoft.com/office/powerpoint/2010/main" val="253674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703513" y="1363962"/>
            <a:ext cx="4103687" cy="4508500"/>
          </a:xfrm>
        </p:spPr>
        <p:txBody>
          <a:bodyPr rtlCol="0">
            <a:noAutofit/>
          </a:bodyPr>
          <a:lstStyle/>
          <a:p>
            <a:pPr>
              <a:spcAft>
                <a:spcPts val="0"/>
              </a:spcAft>
              <a:buNone/>
              <a:defRPr/>
            </a:pPr>
            <a:r>
              <a:rPr lang="de-DE" b="1" u="sng" dirty="0"/>
              <a:t>Typische Verhaltensmuster bei Stress:</a:t>
            </a:r>
          </a:p>
          <a:p>
            <a:pPr>
              <a:spcAft>
                <a:spcPts val="0"/>
              </a:spcAft>
              <a:buNone/>
              <a:defRPr/>
            </a:pPr>
            <a:endParaRPr lang="de-DE" b="1" u="sng" dirty="0"/>
          </a:p>
          <a:p>
            <a:pPr marL="216000" indent="-216000">
              <a:spcAft>
                <a:spcPts val="0"/>
              </a:spcAft>
              <a:buFont typeface="Arial" charset="0"/>
              <a:buChar char="•"/>
              <a:defRPr/>
            </a:pPr>
            <a:r>
              <a:rPr lang="de-DE" dirty="0"/>
              <a:t>Nägelkauen, Zähneknirschen</a:t>
            </a:r>
          </a:p>
          <a:p>
            <a:pPr marL="216000" indent="-216000">
              <a:spcAft>
                <a:spcPts val="0"/>
              </a:spcAft>
              <a:buFont typeface="Arial" charset="0"/>
              <a:buChar char="•"/>
              <a:defRPr/>
            </a:pPr>
            <a:r>
              <a:rPr lang="de-DE" dirty="0"/>
              <a:t>Kontrollverlust über eigene Emotionen</a:t>
            </a:r>
          </a:p>
          <a:p>
            <a:pPr marL="216000" indent="-216000">
              <a:spcAft>
                <a:spcPts val="0"/>
              </a:spcAft>
              <a:buFont typeface="Arial" charset="0"/>
              <a:buChar char="•"/>
              <a:defRPr/>
            </a:pPr>
            <a:r>
              <a:rPr lang="de-DE" dirty="0"/>
              <a:t>schnelles Sprechen</a:t>
            </a:r>
          </a:p>
          <a:p>
            <a:pPr marL="216000" indent="-216000">
              <a:spcAft>
                <a:spcPts val="0"/>
              </a:spcAft>
              <a:buFont typeface="Arial" charset="0"/>
              <a:buChar char="•"/>
              <a:defRPr/>
            </a:pPr>
            <a:r>
              <a:rPr lang="de-DE" dirty="0"/>
              <a:t>trotz Krankheit arbeiten</a:t>
            </a:r>
          </a:p>
          <a:p>
            <a:pPr marL="216000" indent="-216000">
              <a:spcAft>
                <a:spcPts val="0"/>
              </a:spcAft>
              <a:buFont typeface="Arial" charset="0"/>
              <a:buChar char="•"/>
              <a:defRPr/>
            </a:pPr>
            <a:r>
              <a:rPr lang="de-DE" dirty="0"/>
              <a:t>unkontrollierte Nahrungsaufnahme </a:t>
            </a:r>
          </a:p>
          <a:p>
            <a:pPr marL="216000" indent="-216000">
              <a:spcAft>
                <a:spcPts val="0"/>
              </a:spcAft>
              <a:buFont typeface="Arial" charset="0"/>
              <a:buChar char="•"/>
              <a:defRPr/>
            </a:pPr>
            <a:r>
              <a:rPr lang="de-DE" dirty="0"/>
              <a:t>ständiges Zuspätkommen</a:t>
            </a:r>
          </a:p>
          <a:p>
            <a:pPr marL="216000" indent="-216000">
              <a:spcAft>
                <a:spcPts val="0"/>
              </a:spcAft>
              <a:buFont typeface="Arial" charset="0"/>
              <a:buChar char="•"/>
              <a:defRPr/>
            </a:pPr>
            <a:r>
              <a:rPr lang="de-DE" dirty="0"/>
              <a:t>Alkohol- und Tablettenkonsum</a:t>
            </a:r>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p:txBody>
      </p:sp>
      <p:sp>
        <p:nvSpPr>
          <p:cNvPr id="31748" name="Titel 4"/>
          <p:cNvSpPr>
            <a:spLocks noGrp="1"/>
          </p:cNvSpPr>
          <p:nvPr>
            <p:ph type="title"/>
          </p:nvPr>
        </p:nvSpPr>
        <p:spPr/>
        <p:txBody>
          <a:bodyPr/>
          <a:lstStyle/>
          <a:p>
            <a:r>
              <a:rPr lang="de-DE" altLang="de-DE" dirty="0"/>
              <a:t>Wie erkennt man eine psychische Belastung?</a:t>
            </a:r>
          </a:p>
        </p:txBody>
      </p:sp>
      <p:pic>
        <p:nvPicPr>
          <p:cNvPr id="8" name="Grafik 7">
            <a:extLst>
              <a:ext uri="{FF2B5EF4-FFF2-40B4-BE49-F238E27FC236}">
                <a16:creationId xmlns:a16="http://schemas.microsoft.com/office/drawing/2014/main" id="{B10217BF-5656-4CC8-BEB5-062E10F1C4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80509" y="2434015"/>
            <a:ext cx="4512416" cy="2256208"/>
          </a:xfrm>
          <a:prstGeom prst="rect">
            <a:avLst/>
          </a:prstGeom>
          <a:effectLst>
            <a:softEdge rad="109220"/>
          </a:effectLst>
        </p:spPr>
      </p:pic>
      <p:sp>
        <p:nvSpPr>
          <p:cNvPr id="9" name="Rechteck 8">
            <a:extLst>
              <a:ext uri="{FF2B5EF4-FFF2-40B4-BE49-F238E27FC236}">
                <a16:creationId xmlns:a16="http://schemas.microsoft.com/office/drawing/2014/main" id="{7D44D85E-79D2-4650-8730-95E56518B037}"/>
              </a:ext>
            </a:extLst>
          </p:cNvPr>
          <p:cNvSpPr/>
          <p:nvPr/>
        </p:nvSpPr>
        <p:spPr>
          <a:xfrm>
            <a:off x="9461641" y="4672319"/>
            <a:ext cx="1066318" cy="215444"/>
          </a:xfrm>
          <a:prstGeom prst="rect">
            <a:avLst/>
          </a:prstGeom>
        </p:spPr>
        <p:txBody>
          <a:bodyPr wrap="none">
            <a:spAutoFit/>
          </a:bodyPr>
          <a:lstStyle/>
          <a:p>
            <a:r>
              <a:rPr lang="de-DE" sz="800" dirty="0">
                <a:solidFill>
                  <a:schemeClr val="bg1">
                    <a:lumMod val="65000"/>
                  </a:schemeClr>
                </a:solidFill>
              </a:rPr>
              <a:t>© Fotolia - 80007066</a:t>
            </a:r>
          </a:p>
        </p:txBody>
      </p:sp>
    </p:spTree>
    <p:extLst>
      <p:ext uri="{BB962C8B-B14F-4D97-AF65-F5344CB8AC3E}">
        <p14:creationId xmlns:p14="http://schemas.microsoft.com/office/powerpoint/2010/main" val="14388657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992314" y="1628775"/>
            <a:ext cx="3743325" cy="4508500"/>
          </a:xfrm>
        </p:spPr>
        <p:txBody>
          <a:bodyPr rtlCol="0">
            <a:noAutofit/>
          </a:bodyPr>
          <a:lstStyle/>
          <a:p>
            <a:pPr>
              <a:spcAft>
                <a:spcPts val="0"/>
              </a:spcAft>
              <a:buNone/>
              <a:defRPr/>
            </a:pPr>
            <a:r>
              <a:rPr lang="de-DE" b="1" u="sng" dirty="0"/>
              <a:t>Psychische Stress-Symptome</a:t>
            </a:r>
          </a:p>
          <a:p>
            <a:pPr>
              <a:spcAft>
                <a:spcPts val="0"/>
              </a:spcAft>
              <a:buNone/>
              <a:defRPr/>
            </a:pPr>
            <a:endParaRPr lang="de-DE" b="1" u="sng" dirty="0"/>
          </a:p>
          <a:p>
            <a:pPr marL="216000" indent="-216000">
              <a:spcAft>
                <a:spcPts val="0"/>
              </a:spcAft>
              <a:buFont typeface="Arial" charset="0"/>
              <a:buChar char="•"/>
              <a:defRPr/>
            </a:pPr>
            <a:r>
              <a:rPr lang="de-DE" dirty="0"/>
              <a:t>Gefühl der Überforderung</a:t>
            </a:r>
          </a:p>
          <a:p>
            <a:pPr marL="216000" indent="-216000">
              <a:spcAft>
                <a:spcPts val="0"/>
              </a:spcAft>
              <a:buFont typeface="Arial" charset="0"/>
              <a:buChar char="•"/>
              <a:defRPr/>
            </a:pPr>
            <a:r>
              <a:rPr lang="de-DE" dirty="0"/>
              <a:t>Innere Unruhe</a:t>
            </a:r>
          </a:p>
          <a:p>
            <a:pPr marL="216000" indent="-216000">
              <a:spcAft>
                <a:spcPts val="0"/>
              </a:spcAft>
              <a:buFont typeface="Arial" charset="0"/>
              <a:buChar char="•"/>
              <a:defRPr/>
            </a:pPr>
            <a:r>
              <a:rPr lang="de-DE" dirty="0"/>
              <a:t>Stimmungsschwankungen</a:t>
            </a:r>
          </a:p>
          <a:p>
            <a:pPr marL="216000" indent="-216000">
              <a:spcAft>
                <a:spcPts val="0"/>
              </a:spcAft>
              <a:buFont typeface="Arial" charset="0"/>
              <a:buChar char="•"/>
              <a:defRPr/>
            </a:pPr>
            <a:r>
              <a:rPr lang="de-DE" dirty="0"/>
              <a:t>Negative Emotionen sich selbst gegenüber</a:t>
            </a:r>
          </a:p>
          <a:p>
            <a:pPr marL="216000" indent="-216000">
              <a:spcAft>
                <a:spcPts val="0"/>
              </a:spcAft>
              <a:buFont typeface="Arial" charset="0"/>
              <a:buChar char="•"/>
              <a:defRPr/>
            </a:pPr>
            <a:r>
              <a:rPr lang="de-DE" dirty="0"/>
              <a:t>Nervosität, z. B. Angst, entlassen zu werden</a:t>
            </a:r>
          </a:p>
          <a:p>
            <a:pPr marL="216000" indent="-216000">
              <a:spcAft>
                <a:spcPts val="0"/>
              </a:spcAft>
              <a:buFont typeface="Arial" charset="0"/>
              <a:buChar char="•"/>
              <a:defRPr/>
            </a:pPr>
            <a:r>
              <a:rPr lang="de-DE" dirty="0"/>
              <a:t>Depressionen</a:t>
            </a:r>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a:p>
            <a:pPr marL="216000" indent="-216000">
              <a:spcAft>
                <a:spcPts val="0"/>
              </a:spcAft>
              <a:buFont typeface="Arial" charset="0"/>
              <a:buChar char="•"/>
              <a:defRPr/>
            </a:pPr>
            <a:endParaRPr lang="de-DE" dirty="0"/>
          </a:p>
        </p:txBody>
      </p:sp>
      <p:sp>
        <p:nvSpPr>
          <p:cNvPr id="7" name="Fußzeilenplatzhalter 3">
            <a:extLst>
              <a:ext uri="{FF2B5EF4-FFF2-40B4-BE49-F238E27FC236}">
                <a16:creationId xmlns:a16="http://schemas.microsoft.com/office/drawing/2014/main" id="{18E5DF3A-7593-46F4-BBE6-531E1788814B}"/>
              </a:ext>
            </a:extLst>
          </p:cNvPr>
          <p:cNvSpPr>
            <a:spLocks noGrp="1"/>
          </p:cNvSpPr>
          <p:nvPr>
            <p:ph type="ftr" sz="quarter" idx="13"/>
          </p:nvPr>
        </p:nvSpPr>
        <p:spPr/>
        <p:txBody>
          <a:bodyPr/>
          <a:lstStyle/>
          <a:p>
            <a:r>
              <a:rPr lang="de-DE"/>
              <a:t>© 2018 - Unterweisung Plus</a:t>
            </a:r>
            <a:endParaRPr lang="de-DE" dirty="0"/>
          </a:p>
        </p:txBody>
      </p:sp>
      <p:sp>
        <p:nvSpPr>
          <p:cNvPr id="32772" name="Titel 4"/>
          <p:cNvSpPr>
            <a:spLocks noGrp="1"/>
          </p:cNvSpPr>
          <p:nvPr>
            <p:ph type="title"/>
          </p:nvPr>
        </p:nvSpPr>
        <p:spPr/>
        <p:txBody>
          <a:bodyPr/>
          <a:lstStyle/>
          <a:p>
            <a:r>
              <a:rPr lang="de-DE" altLang="de-DE" dirty="0"/>
              <a:t>Wie erkennt man eine psychische Belastung?</a:t>
            </a:r>
          </a:p>
        </p:txBody>
      </p:sp>
      <p:pic>
        <p:nvPicPr>
          <p:cNvPr id="6" name="Grafik 5">
            <a:extLst>
              <a:ext uri="{FF2B5EF4-FFF2-40B4-BE49-F238E27FC236}">
                <a16:creationId xmlns:a16="http://schemas.microsoft.com/office/drawing/2014/main" id="{B6037CDC-3236-43FD-A71A-17686DA777E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3606" y="1919743"/>
            <a:ext cx="4364348" cy="2909565"/>
          </a:xfrm>
          <a:prstGeom prst="rect">
            <a:avLst/>
          </a:prstGeom>
          <a:effectLst>
            <a:softEdge rad="112522"/>
          </a:effectLst>
        </p:spPr>
      </p:pic>
      <p:sp>
        <p:nvSpPr>
          <p:cNvPr id="3" name="Rechteck 2">
            <a:extLst>
              <a:ext uri="{FF2B5EF4-FFF2-40B4-BE49-F238E27FC236}">
                <a16:creationId xmlns:a16="http://schemas.microsoft.com/office/drawing/2014/main" id="{48F344F0-21CB-43DC-A97E-962B03F8CF4D}"/>
              </a:ext>
            </a:extLst>
          </p:cNvPr>
          <p:cNvSpPr/>
          <p:nvPr/>
        </p:nvSpPr>
        <p:spPr>
          <a:xfrm>
            <a:off x="9206392" y="4721585"/>
            <a:ext cx="1117614" cy="215444"/>
          </a:xfrm>
          <a:prstGeom prst="rect">
            <a:avLst/>
          </a:prstGeom>
        </p:spPr>
        <p:txBody>
          <a:bodyPr wrap="none">
            <a:spAutoFit/>
          </a:bodyPr>
          <a:lstStyle/>
          <a:p>
            <a:r>
              <a:rPr lang="de-DE" sz="800" dirty="0">
                <a:solidFill>
                  <a:schemeClr val="bg1">
                    <a:lumMod val="65000"/>
                  </a:schemeClr>
                </a:solidFill>
              </a:rPr>
              <a:t>© Fotolia - 104714675</a:t>
            </a:r>
          </a:p>
        </p:txBody>
      </p:sp>
    </p:spTree>
    <p:extLst>
      <p:ext uri="{BB962C8B-B14F-4D97-AF65-F5344CB8AC3E}">
        <p14:creationId xmlns:p14="http://schemas.microsoft.com/office/powerpoint/2010/main" val="680007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Inhaltsplatzhalter 1"/>
          <p:cNvSpPr>
            <a:spLocks noGrp="1"/>
          </p:cNvSpPr>
          <p:nvPr>
            <p:ph idx="1"/>
          </p:nvPr>
        </p:nvSpPr>
        <p:spPr/>
        <p:txBody>
          <a:bodyPr/>
          <a:lstStyle/>
          <a:p>
            <a:pPr>
              <a:buFont typeface="Arial" charset="0"/>
              <a:buChar char="•"/>
            </a:pPr>
            <a:r>
              <a:rPr lang="de-DE" altLang="de-DE" b="1" dirty="0"/>
              <a:t>Work-Life-Balance finden</a:t>
            </a:r>
            <a:br>
              <a:rPr lang="de-DE" altLang="de-DE" dirty="0"/>
            </a:br>
            <a:r>
              <a:rPr lang="de-DE" altLang="de-DE" dirty="0"/>
              <a:t>Versuchen Sie, Ihre Prioritäten richtig zu verteilen. Zwar ist es wichtig, gute Arbeit zu leisten, allerdings dürfen Sie Familie und Freunde nicht vernachlässigen.</a:t>
            </a:r>
          </a:p>
          <a:p>
            <a:pPr>
              <a:buFont typeface="Arial" charset="0"/>
              <a:buChar char="•"/>
            </a:pPr>
            <a:r>
              <a:rPr lang="de-DE" altLang="de-DE" b="1" dirty="0"/>
              <a:t>Freizeitstress vermeiden</a:t>
            </a:r>
            <a:br>
              <a:rPr lang="de-DE" altLang="de-DE" dirty="0"/>
            </a:br>
            <a:r>
              <a:rPr lang="de-DE" altLang="de-DE" dirty="0"/>
              <a:t>Einkaufen, Sport, Verabredungen – teilen Sie sich den Feierabend so ein, dass Sie ihn genießen können und er nicht auch noch zusätzlicher Ballast ist. </a:t>
            </a:r>
          </a:p>
          <a:p>
            <a:pPr>
              <a:buFont typeface="Arial" charset="0"/>
              <a:buChar char="•"/>
            </a:pPr>
            <a:r>
              <a:rPr lang="de-DE" altLang="de-DE" b="1" dirty="0"/>
              <a:t>Aufgaben und Freiräume planen</a:t>
            </a:r>
            <a:br>
              <a:rPr lang="de-DE" altLang="de-DE" dirty="0"/>
            </a:br>
            <a:r>
              <a:rPr lang="de-DE" altLang="de-DE" dirty="0"/>
              <a:t>Sie wissen nicht, wo Sie anfangen sollen, weil so viel zu tun ist? Machen Sie sich eine Liste mit allen Dingen, die Sie erledigen müssen. Aber planen Sie auch Zeiten zur Entspannung mit ein!</a:t>
            </a:r>
          </a:p>
          <a:p>
            <a:pPr>
              <a:buFont typeface="Arial" charset="0"/>
              <a:buChar char="•"/>
            </a:pPr>
            <a:r>
              <a:rPr lang="de-DE" altLang="de-DE" b="1" dirty="0"/>
              <a:t>Nein sagen</a:t>
            </a:r>
            <a:br>
              <a:rPr lang="de-DE" altLang="de-DE" dirty="0"/>
            </a:br>
            <a:r>
              <a:rPr lang="de-DE" altLang="de-DE" dirty="0"/>
              <a:t>Das Wort „nein“ ist kein tabu, etablieren Sie es in Ihrem Wortschatz.</a:t>
            </a:r>
          </a:p>
          <a:p>
            <a:pPr>
              <a:buFont typeface="Arial" charset="0"/>
              <a:buChar char="•"/>
            </a:pPr>
            <a:r>
              <a:rPr lang="de-DE" altLang="de-DE" b="1" dirty="0"/>
              <a:t>Man muss nicht immer erreichbar sein</a:t>
            </a:r>
            <a:br>
              <a:rPr lang="de-DE" altLang="de-DE" dirty="0"/>
            </a:br>
            <a:r>
              <a:rPr lang="de-DE" altLang="de-DE" dirty="0"/>
              <a:t>Achten Sie darauf, dass Sie nach dem Feierabend auch wirklich Feierabend haben. Sie müssen nicht rund um die Uhr erreichbar sein, das muss Ihnen nur bewusst werden. </a:t>
            </a:r>
          </a:p>
        </p:txBody>
      </p:sp>
      <p:sp>
        <p:nvSpPr>
          <p:cNvPr id="33796" name="Titel 4"/>
          <p:cNvSpPr>
            <a:spLocks noGrp="1"/>
          </p:cNvSpPr>
          <p:nvPr>
            <p:ph type="title"/>
          </p:nvPr>
        </p:nvSpPr>
        <p:spPr/>
        <p:txBody>
          <a:bodyPr/>
          <a:lstStyle/>
          <a:p>
            <a:r>
              <a:rPr lang="de-DE" altLang="de-DE"/>
              <a:t>Tipps zur Stressbewältigung</a:t>
            </a:r>
          </a:p>
        </p:txBody>
      </p:sp>
    </p:spTree>
    <p:extLst>
      <p:ext uri="{BB962C8B-B14F-4D97-AF65-F5344CB8AC3E}">
        <p14:creationId xmlns:p14="http://schemas.microsoft.com/office/powerpoint/2010/main" val="20946132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Inhaltsplatzhalter 1"/>
          <p:cNvSpPr>
            <a:spLocks noGrp="1"/>
          </p:cNvSpPr>
          <p:nvPr>
            <p:ph idx="1"/>
          </p:nvPr>
        </p:nvSpPr>
        <p:spPr/>
        <p:txBody>
          <a:bodyPr/>
          <a:lstStyle/>
          <a:p>
            <a:pPr>
              <a:buFont typeface="Arial" charset="0"/>
              <a:buChar char="•"/>
            </a:pPr>
            <a:r>
              <a:rPr lang="de-DE" altLang="de-DE" b="1" dirty="0"/>
              <a:t>Ablenkung minimieren</a:t>
            </a:r>
            <a:br>
              <a:rPr lang="de-DE" altLang="de-DE" b="1" dirty="0"/>
            </a:br>
            <a:r>
              <a:rPr lang="de-DE" altLang="de-DE" dirty="0"/>
              <a:t>Konzentrieren Sie sich auf eine Aufgabe, denn so können Sie Ihre </a:t>
            </a:r>
            <a:r>
              <a:rPr lang="de-DE" altLang="de-DE" dirty="0" err="1"/>
              <a:t>To</a:t>
            </a:r>
            <a:r>
              <a:rPr lang="de-DE" altLang="de-DE" dirty="0"/>
              <a:t>-do-Liste am schnellsten abarbeiten.</a:t>
            </a:r>
            <a:br>
              <a:rPr lang="de-DE" altLang="de-DE" dirty="0"/>
            </a:br>
            <a:r>
              <a:rPr lang="de-DE" altLang="de-DE" b="1" dirty="0"/>
              <a:t>Kleine Pausen einplanen</a:t>
            </a:r>
            <a:br>
              <a:rPr lang="de-DE" altLang="de-DE" dirty="0"/>
            </a:br>
            <a:r>
              <a:rPr lang="de-DE" altLang="de-DE" dirty="0"/>
              <a:t>Richten Sie sich kleine Pausen ein, in denen Sie kurz abschalten können. </a:t>
            </a:r>
          </a:p>
          <a:p>
            <a:pPr>
              <a:buFont typeface="Arial" charset="0"/>
              <a:buChar char="•"/>
            </a:pPr>
            <a:r>
              <a:rPr lang="de-DE" altLang="de-DE" b="1" dirty="0"/>
              <a:t>Hilfe annehmen</a:t>
            </a:r>
            <a:br>
              <a:rPr lang="de-DE" altLang="de-DE" dirty="0"/>
            </a:br>
            <a:r>
              <a:rPr lang="de-DE" altLang="de-DE" dirty="0"/>
              <a:t>Fragen Sie Kollegen um Hilfe. Alle können sich gegenseitig unterstützen. </a:t>
            </a:r>
          </a:p>
          <a:p>
            <a:pPr>
              <a:buFont typeface="Arial" charset="0"/>
              <a:buChar char="•"/>
            </a:pPr>
            <a:r>
              <a:rPr lang="de-DE" altLang="de-DE" b="1" dirty="0"/>
              <a:t>Abschalten</a:t>
            </a:r>
            <a:br>
              <a:rPr lang="de-DE" altLang="de-DE" dirty="0"/>
            </a:br>
            <a:r>
              <a:rPr lang="de-DE" altLang="de-DE" dirty="0"/>
              <a:t>Körper und Geist brauchen einen Ausgleich zu den Anforderungen im Berufsleben. </a:t>
            </a:r>
          </a:p>
          <a:p>
            <a:pPr>
              <a:buFont typeface="Arial" charset="0"/>
              <a:buChar char="•"/>
            </a:pPr>
            <a:r>
              <a:rPr lang="de-DE" altLang="de-DE" b="1" dirty="0"/>
              <a:t>Freizeitaktivität </a:t>
            </a:r>
            <a:br>
              <a:rPr lang="de-DE" altLang="de-DE" dirty="0"/>
            </a:br>
            <a:r>
              <a:rPr lang="de-DE" altLang="de-DE" dirty="0"/>
              <a:t>Ihr Hobby sollte Ihnen Freude bereiten und kein weiterer Stressfaktor werden.</a:t>
            </a:r>
          </a:p>
        </p:txBody>
      </p:sp>
      <p:sp>
        <p:nvSpPr>
          <p:cNvPr id="34820" name="Titel 4"/>
          <p:cNvSpPr>
            <a:spLocks noGrp="1"/>
          </p:cNvSpPr>
          <p:nvPr>
            <p:ph type="title"/>
          </p:nvPr>
        </p:nvSpPr>
        <p:spPr/>
        <p:txBody>
          <a:bodyPr/>
          <a:lstStyle/>
          <a:p>
            <a:r>
              <a:rPr lang="de-DE" altLang="de-DE"/>
              <a:t>Tipps zur Stressbewältigung</a:t>
            </a:r>
          </a:p>
        </p:txBody>
      </p:sp>
    </p:spTree>
    <p:extLst>
      <p:ext uri="{BB962C8B-B14F-4D97-AF65-F5344CB8AC3E}">
        <p14:creationId xmlns:p14="http://schemas.microsoft.com/office/powerpoint/2010/main" val="2097657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6" name="Textplatzhalter 5">
            <a:extLst>
              <a:ext uri="{FF2B5EF4-FFF2-40B4-BE49-F238E27FC236}">
                <a16:creationId xmlns:a16="http://schemas.microsoft.com/office/drawing/2014/main" id="{BB7C5770-D604-7486-ABC2-33A79CFAA3DD}"/>
              </a:ext>
            </a:extLst>
          </p:cNvPr>
          <p:cNvSpPr>
            <a:spLocks noGrp="1"/>
          </p:cNvSpPr>
          <p:nvPr>
            <p:ph type="body" sz="quarter" idx="14"/>
          </p:nvPr>
        </p:nvSpPr>
        <p:spPr/>
        <p:txBody>
          <a:bodyPr/>
          <a:lstStyle/>
          <a:p>
            <a:endParaRPr lang="de-DE"/>
          </a:p>
        </p:txBody>
      </p:sp>
      <p:sp>
        <p:nvSpPr>
          <p:cNvPr id="7" name="Textplatzhalter 6">
            <a:extLst>
              <a:ext uri="{FF2B5EF4-FFF2-40B4-BE49-F238E27FC236}">
                <a16:creationId xmlns:a16="http://schemas.microsoft.com/office/drawing/2014/main" id="{67F424A0-817E-6157-C0E1-B0F03148ECA6}"/>
              </a:ext>
            </a:extLst>
          </p:cNvPr>
          <p:cNvSpPr>
            <a:spLocks noGrp="1"/>
          </p:cNvSpPr>
          <p:nvPr>
            <p:ph type="body" sz="quarter" idx="15"/>
          </p:nvPr>
        </p:nvSpPr>
        <p:spPr/>
        <p:txBody>
          <a:bodyPr/>
          <a:lstStyle/>
          <a:p>
            <a:endParaRPr lang="de-DE"/>
          </a:p>
        </p:txBody>
      </p:sp>
      <p:sp>
        <p:nvSpPr>
          <p:cNvPr id="8" name="Textplatzhalter 7">
            <a:extLst>
              <a:ext uri="{FF2B5EF4-FFF2-40B4-BE49-F238E27FC236}">
                <a16:creationId xmlns:a16="http://schemas.microsoft.com/office/drawing/2014/main" id="{5FB32870-E466-AC18-6BF9-E775FA5465C0}"/>
              </a:ext>
            </a:extLst>
          </p:cNvPr>
          <p:cNvSpPr>
            <a:spLocks noGrp="1"/>
          </p:cNvSpPr>
          <p:nvPr>
            <p:ph type="body" sz="quarter" idx="16"/>
          </p:nvPr>
        </p:nvSpPr>
        <p:spPr/>
        <p:txBody>
          <a:bodyPr/>
          <a:lstStyle/>
          <a:p>
            <a:endParaRPr lang="de-DE"/>
          </a:p>
        </p:txBody>
      </p:sp>
      <p:sp>
        <p:nvSpPr>
          <p:cNvPr id="9" name="Textplatzhalter 8">
            <a:extLst>
              <a:ext uri="{FF2B5EF4-FFF2-40B4-BE49-F238E27FC236}">
                <a16:creationId xmlns:a16="http://schemas.microsoft.com/office/drawing/2014/main" id="{D374152C-357F-6AFB-17E9-D45DF3E212FC}"/>
              </a:ext>
            </a:extLst>
          </p:cNvPr>
          <p:cNvSpPr>
            <a:spLocks noGrp="1"/>
          </p:cNvSpPr>
          <p:nvPr>
            <p:ph type="body" sz="quarter" idx="17"/>
          </p:nvPr>
        </p:nvSpPr>
        <p:spPr/>
        <p:txBody>
          <a:bodyPr/>
          <a:lstStyle/>
          <a:p>
            <a:endParaRPr lang="de-DE"/>
          </a:p>
        </p:txBody>
      </p:sp>
      <p:sp>
        <p:nvSpPr>
          <p:cNvPr id="10" name="Textplatzhalter 9">
            <a:extLst>
              <a:ext uri="{FF2B5EF4-FFF2-40B4-BE49-F238E27FC236}">
                <a16:creationId xmlns:a16="http://schemas.microsoft.com/office/drawing/2014/main" id="{758BFB3A-4F47-5EA7-EEAF-6366EDAB81A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58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Definition</a:t>
            </a:r>
          </a:p>
        </p:txBody>
      </p:sp>
      <p:pic>
        <p:nvPicPr>
          <p:cNvPr id="6" name="Inhaltsplatzhalter 6"/>
          <p:cNvPicPr>
            <a:picLocks noChangeAspect="1"/>
          </p:cNvPicPr>
          <p:nvPr/>
        </p:nvPicPr>
        <p:blipFill>
          <a:blip r:embed="rId2" cstate="print">
            <a:extLst>
              <a:ext uri="{28A0092B-C50C-407E-A947-70E740481C1C}">
                <a14:useLocalDpi xmlns:a14="http://schemas.microsoft.com/office/drawing/2010/main" val="0"/>
              </a:ext>
            </a:extLst>
          </a:blip>
          <a:srcRect t="4115" b="6863"/>
          <a:stretch>
            <a:fillRect/>
          </a:stretch>
        </p:blipFill>
        <p:spPr>
          <a:xfrm>
            <a:off x="2171419" y="1436455"/>
            <a:ext cx="7777162" cy="4616450"/>
          </a:xfrm>
          <a:prstGeom prst="rect">
            <a:avLst/>
          </a:prstGeom>
        </p:spPr>
      </p:pic>
    </p:spTree>
    <p:extLst>
      <p:ext uri="{BB962C8B-B14F-4D97-AF65-F5344CB8AC3E}">
        <p14:creationId xmlns:p14="http://schemas.microsoft.com/office/powerpoint/2010/main" val="1295815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A45867-E906-49AA-9958-6A26FA91485B}"/>
              </a:ext>
            </a:extLst>
          </p:cNvPr>
          <p:cNvSpPr/>
          <p:nvPr/>
        </p:nvSpPr>
        <p:spPr>
          <a:xfrm>
            <a:off x="1992000" y="1016554"/>
            <a:ext cx="8136000" cy="360363"/>
          </a:xfrm>
          <a:prstGeom prst="rect">
            <a:avLst/>
          </a:prstGeom>
        </p:spPr>
        <p:txBody>
          <a:bodyPr vert="horz" lIns="91440" tIns="45720" rIns="91440" bIns="45720" rtlCol="0">
            <a:normAutofit/>
          </a:bodyPr>
          <a:lstStyle/>
          <a:p>
            <a:pPr>
              <a:lnSpc>
                <a:spcPct val="90000"/>
              </a:lnSpc>
              <a:spcBef>
                <a:spcPts val="600"/>
              </a:spcBef>
            </a:pPr>
            <a:r>
              <a:rPr lang="de-DE" cap="all" dirty="0">
                <a:solidFill>
                  <a:schemeClr val="accent1"/>
                </a:solidFill>
              </a:rPr>
              <a:t>2012 -2022 mit Anstieg der Fehltage um 48%, Quelle: DAK</a:t>
            </a:r>
          </a:p>
        </p:txBody>
      </p:sp>
      <p:sp>
        <p:nvSpPr>
          <p:cNvPr id="5" name="Titel 4"/>
          <p:cNvSpPr>
            <a:spLocks noGrp="1"/>
          </p:cNvSpPr>
          <p:nvPr>
            <p:ph type="title"/>
          </p:nvPr>
        </p:nvSpPr>
        <p:spPr/>
        <p:txBody>
          <a:bodyPr vert="horz" lIns="91440" tIns="45720" rIns="91440" bIns="45720" rtlCol="0" anchor="b" anchorCtr="0">
            <a:normAutofit/>
          </a:bodyPr>
          <a:lstStyle/>
          <a:p>
            <a:r>
              <a:rPr lang="de-DE" kern="1200" dirty="0">
                <a:latin typeface="+mj-lt"/>
                <a:ea typeface="+mj-ea"/>
                <a:cs typeface="+mj-cs"/>
              </a:rPr>
              <a:t>Psychische Erkrankung: Daten und Fakten</a:t>
            </a:r>
          </a:p>
        </p:txBody>
      </p:sp>
      <p:pic>
        <p:nvPicPr>
          <p:cNvPr id="11" name="Grafik 10">
            <a:extLst>
              <a:ext uri="{FF2B5EF4-FFF2-40B4-BE49-F238E27FC236}">
                <a16:creationId xmlns:a16="http://schemas.microsoft.com/office/drawing/2014/main" id="{8C561FD5-09E9-C471-094E-AD97B5459FA9}"/>
              </a:ext>
            </a:extLst>
          </p:cNvPr>
          <p:cNvPicPr>
            <a:picLocks noChangeAspect="1"/>
          </p:cNvPicPr>
          <p:nvPr/>
        </p:nvPicPr>
        <p:blipFill>
          <a:blip r:embed="rId2"/>
          <a:stretch>
            <a:fillRect/>
          </a:stretch>
        </p:blipFill>
        <p:spPr>
          <a:xfrm>
            <a:off x="1885293" y="1734448"/>
            <a:ext cx="7729984" cy="3650487"/>
          </a:xfrm>
          <a:prstGeom prst="rect">
            <a:avLst/>
          </a:prstGeom>
        </p:spPr>
      </p:pic>
      <p:sp>
        <p:nvSpPr>
          <p:cNvPr id="12" name="Rechteck 11">
            <a:extLst>
              <a:ext uri="{FF2B5EF4-FFF2-40B4-BE49-F238E27FC236}">
                <a16:creationId xmlns:a16="http://schemas.microsoft.com/office/drawing/2014/main" id="{49B21D24-921B-D4F6-48DD-93CDCB7D8686}"/>
              </a:ext>
            </a:extLst>
          </p:cNvPr>
          <p:cNvSpPr/>
          <p:nvPr/>
        </p:nvSpPr>
        <p:spPr>
          <a:xfrm>
            <a:off x="8976320" y="6145652"/>
            <a:ext cx="1277914" cy="215444"/>
          </a:xfrm>
          <a:prstGeom prst="rect">
            <a:avLst/>
          </a:prstGeom>
        </p:spPr>
        <p:txBody>
          <a:bodyPr wrap="none">
            <a:spAutoFit/>
          </a:bodyPr>
          <a:lstStyle/>
          <a:p>
            <a:r>
              <a:rPr lang="de-DE" sz="800" dirty="0">
                <a:solidFill>
                  <a:schemeClr val="bg1">
                    <a:lumMod val="65000"/>
                  </a:schemeClr>
                </a:solidFill>
              </a:rPr>
              <a:t>Quelle: DAK Krankenkasse</a:t>
            </a:r>
            <a:endParaRPr lang="de-DE" sz="800" dirty="0"/>
          </a:p>
        </p:txBody>
      </p:sp>
    </p:spTree>
    <p:extLst>
      <p:ext uri="{BB962C8B-B14F-4D97-AF65-F5344CB8AC3E}">
        <p14:creationId xmlns:p14="http://schemas.microsoft.com/office/powerpoint/2010/main" val="700287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DC06C669-CD70-1C37-9AB7-0A0ACBF425AC}"/>
              </a:ext>
            </a:extLst>
          </p:cNvPr>
          <p:cNvPicPr>
            <a:picLocks noChangeAspect="1"/>
          </p:cNvPicPr>
          <p:nvPr/>
        </p:nvPicPr>
        <p:blipFill>
          <a:blip r:embed="rId2"/>
          <a:stretch>
            <a:fillRect/>
          </a:stretch>
        </p:blipFill>
        <p:spPr>
          <a:xfrm>
            <a:off x="1992001" y="2085432"/>
            <a:ext cx="8135937" cy="3702441"/>
          </a:xfrm>
          <a:prstGeom prst="rect">
            <a:avLst/>
          </a:prstGeom>
        </p:spPr>
      </p:pic>
      <p:sp>
        <p:nvSpPr>
          <p:cNvPr id="4" name="Inhaltsplatzhalter 3">
            <a:extLst>
              <a:ext uri="{FF2B5EF4-FFF2-40B4-BE49-F238E27FC236}">
                <a16:creationId xmlns:a16="http://schemas.microsoft.com/office/drawing/2014/main" id="{221DC0E2-DD8E-F986-9F3F-125AF682AB91}"/>
              </a:ext>
            </a:extLst>
          </p:cNvPr>
          <p:cNvSpPr>
            <a:spLocks noGrp="1"/>
          </p:cNvSpPr>
          <p:nvPr>
            <p:ph idx="1"/>
          </p:nvPr>
        </p:nvSpPr>
        <p:spPr/>
        <p:txBody>
          <a:bodyPr/>
          <a:lstStyle/>
          <a:p>
            <a:pPr>
              <a:buNone/>
            </a:pPr>
            <a:r>
              <a:rPr lang="de-DE" dirty="0"/>
              <a:t>Fehltage wegen psychischer Erkrankungen nach wirtschaftlichen Gruppen (2022)</a:t>
            </a:r>
          </a:p>
        </p:txBody>
      </p:sp>
      <p:sp>
        <p:nvSpPr>
          <p:cNvPr id="5" name="Titel 4"/>
          <p:cNvSpPr>
            <a:spLocks noGrp="1"/>
          </p:cNvSpPr>
          <p:nvPr>
            <p:ph type="title"/>
          </p:nvPr>
        </p:nvSpPr>
        <p:spPr/>
        <p:txBody>
          <a:bodyPr/>
          <a:lstStyle/>
          <a:p>
            <a:r>
              <a:rPr lang="de-DE"/>
              <a:t>Psychische Gesundheit: Daten und Fakten</a:t>
            </a:r>
            <a:endParaRPr lang="de-DE" dirty="0"/>
          </a:p>
        </p:txBody>
      </p:sp>
      <p:sp>
        <p:nvSpPr>
          <p:cNvPr id="2" name="Rechteck 1">
            <a:extLst>
              <a:ext uri="{FF2B5EF4-FFF2-40B4-BE49-F238E27FC236}">
                <a16:creationId xmlns:a16="http://schemas.microsoft.com/office/drawing/2014/main" id="{74D5F33C-1829-4BEA-8F76-29011D64534B}"/>
              </a:ext>
            </a:extLst>
          </p:cNvPr>
          <p:cNvSpPr/>
          <p:nvPr/>
        </p:nvSpPr>
        <p:spPr>
          <a:xfrm>
            <a:off x="8976320" y="6145652"/>
            <a:ext cx="1277914" cy="215444"/>
          </a:xfrm>
          <a:prstGeom prst="rect">
            <a:avLst/>
          </a:prstGeom>
        </p:spPr>
        <p:txBody>
          <a:bodyPr wrap="none">
            <a:spAutoFit/>
          </a:bodyPr>
          <a:lstStyle/>
          <a:p>
            <a:r>
              <a:rPr lang="de-DE" sz="800" dirty="0">
                <a:solidFill>
                  <a:schemeClr val="bg1">
                    <a:lumMod val="65000"/>
                  </a:schemeClr>
                </a:solidFill>
              </a:rPr>
              <a:t>Quelle: DAK Krankenkasse</a:t>
            </a:r>
            <a:endParaRPr lang="de-DE" sz="800" dirty="0"/>
          </a:p>
        </p:txBody>
      </p:sp>
    </p:spTree>
    <p:extLst>
      <p:ext uri="{BB962C8B-B14F-4D97-AF65-F5344CB8AC3E}">
        <p14:creationId xmlns:p14="http://schemas.microsoft.com/office/powerpoint/2010/main" val="1031207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Psychische Erkrankungen werden immer präsenter</a:t>
            </a:r>
          </a:p>
        </p:txBody>
      </p:sp>
      <p:grpSp>
        <p:nvGrpSpPr>
          <p:cNvPr id="6" name="Gruppierung 5"/>
          <p:cNvGrpSpPr>
            <a:grpSpLocks/>
          </p:cNvGrpSpPr>
          <p:nvPr/>
        </p:nvGrpSpPr>
        <p:grpSpPr bwMode="auto">
          <a:xfrm>
            <a:off x="1847528" y="1340768"/>
            <a:ext cx="8603572" cy="4995040"/>
            <a:chOff x="323850" y="1844675"/>
            <a:chExt cx="8507413" cy="4081287"/>
          </a:xfrm>
        </p:grpSpPr>
        <p:sp>
          <p:nvSpPr>
            <p:cNvPr id="7" name="Rechteck 6"/>
            <p:cNvSpPr>
              <a:spLocks noChangeArrowheads="1"/>
            </p:cNvSpPr>
            <p:nvPr/>
          </p:nvSpPr>
          <p:spPr bwMode="auto">
            <a:xfrm>
              <a:off x="814388" y="1844675"/>
              <a:ext cx="31813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nSpc>
                  <a:spcPct val="120000"/>
                </a:lnSpc>
                <a:spcBef>
                  <a:spcPct val="20000"/>
                </a:spcBef>
                <a:spcAft>
                  <a:spcPts val="1200"/>
                </a:spcAft>
                <a:buClr>
                  <a:srgbClr val="3EA249"/>
                </a:buClr>
              </a:pPr>
              <a:r>
                <a:rPr lang="de-DE" altLang="de-DE" sz="1600" b="0" dirty="0">
                  <a:solidFill>
                    <a:srgbClr val="ACCE17"/>
                  </a:solidFill>
                  <a:ea typeface="MS PGothic" charset="-128"/>
                </a:rPr>
                <a:t>Zunahmen von Frühberentungen</a:t>
              </a:r>
              <a:br>
                <a:rPr lang="de-DE" altLang="de-DE" sz="1400" b="0" dirty="0">
                  <a:solidFill>
                    <a:srgbClr val="ACCE17"/>
                  </a:solidFill>
                  <a:ea typeface="MS PGothic" charset="-128"/>
                </a:rPr>
              </a:br>
              <a:r>
                <a:rPr lang="de-DE" altLang="de-DE" sz="1200" b="0" dirty="0">
                  <a:solidFill>
                    <a:schemeClr val="accent1"/>
                  </a:solidFill>
                  <a:ea typeface="MS PGothic" charset="-128"/>
                </a:rPr>
                <a:t>Anteil der Personen, die aufgrund seelischer Leiden frühzeitig in Rente gingen</a:t>
              </a:r>
              <a:endParaRPr lang="de-DE" altLang="de-DE" sz="700" b="0" dirty="0">
                <a:solidFill>
                  <a:schemeClr val="accent1"/>
                </a:solidFill>
                <a:ea typeface="MS PGothic" charset="-128"/>
              </a:endParaRPr>
            </a:p>
          </p:txBody>
        </p:sp>
        <p:sp>
          <p:nvSpPr>
            <p:cNvPr id="8" name="Rechteck 6"/>
            <p:cNvSpPr>
              <a:spLocks noChangeArrowheads="1"/>
            </p:cNvSpPr>
            <p:nvPr/>
          </p:nvSpPr>
          <p:spPr bwMode="auto">
            <a:xfrm>
              <a:off x="5258149" y="1844675"/>
              <a:ext cx="31813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nSpc>
                  <a:spcPct val="120000"/>
                </a:lnSpc>
                <a:spcBef>
                  <a:spcPct val="20000"/>
                </a:spcBef>
                <a:spcAft>
                  <a:spcPts val="1200"/>
                </a:spcAft>
                <a:buClr>
                  <a:srgbClr val="3EA249"/>
                </a:buClr>
              </a:pPr>
              <a:r>
                <a:rPr lang="de-DE" altLang="de-DE" sz="1600" b="0" dirty="0">
                  <a:solidFill>
                    <a:srgbClr val="E77217"/>
                  </a:solidFill>
                  <a:ea typeface="MS PGothic" charset="-128"/>
                </a:rPr>
                <a:t>Ausfalltage steigen</a:t>
              </a:r>
              <a:br>
                <a:rPr lang="de-DE" altLang="de-DE" sz="1600" b="0" dirty="0">
                  <a:solidFill>
                    <a:srgbClr val="ACCE17"/>
                  </a:solidFill>
                  <a:ea typeface="MS PGothic" charset="-128"/>
                </a:rPr>
              </a:br>
              <a:r>
                <a:rPr lang="de-DE" altLang="de-DE" sz="1200" b="0" dirty="0">
                  <a:solidFill>
                    <a:schemeClr val="accent1"/>
                  </a:solidFill>
                  <a:ea typeface="MS PGothic" charset="-128"/>
                </a:rPr>
                <a:t>Anzahl der Ausfalltage aufgrund psychischer Erkrankungen in Deutschland</a:t>
              </a:r>
              <a:endParaRPr lang="de-DE" altLang="de-DE" sz="700" b="0" dirty="0">
                <a:solidFill>
                  <a:schemeClr val="accent1"/>
                </a:solidFill>
                <a:ea typeface="MS PGothic" charset="-128"/>
              </a:endParaRPr>
            </a:p>
          </p:txBody>
        </p:sp>
        <p:grpSp>
          <p:nvGrpSpPr>
            <p:cNvPr id="9" name="Gruppierung 15"/>
            <p:cNvGrpSpPr>
              <a:grpSpLocks/>
            </p:cNvGrpSpPr>
            <p:nvPr/>
          </p:nvGrpSpPr>
          <p:grpSpPr bwMode="auto">
            <a:xfrm>
              <a:off x="323850" y="2736070"/>
              <a:ext cx="8507413" cy="3189892"/>
              <a:chOff x="323527" y="2736859"/>
              <a:chExt cx="8507736" cy="3189124"/>
            </a:xfrm>
          </p:grpSpPr>
          <p:grpSp>
            <p:nvGrpSpPr>
              <p:cNvPr id="10" name="Gruppierung 14"/>
              <p:cNvGrpSpPr>
                <a:grpSpLocks/>
              </p:cNvGrpSpPr>
              <p:nvPr/>
            </p:nvGrpSpPr>
            <p:grpSpPr bwMode="auto">
              <a:xfrm>
                <a:off x="323527" y="2736859"/>
                <a:ext cx="8507736" cy="3189124"/>
                <a:chOff x="323527" y="2736859"/>
                <a:chExt cx="8507736" cy="3189124"/>
              </a:xfrm>
            </p:grpSpPr>
            <p:sp>
              <p:nvSpPr>
                <p:cNvPr id="15" name="Rechteck 6"/>
                <p:cNvSpPr>
                  <a:spLocks noChangeArrowheads="1"/>
                </p:cNvSpPr>
                <p:nvPr/>
              </p:nvSpPr>
              <p:spPr bwMode="auto">
                <a:xfrm>
                  <a:off x="323527" y="5740985"/>
                  <a:ext cx="7186935" cy="184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nSpc>
                      <a:spcPct val="120000"/>
                    </a:lnSpc>
                    <a:spcBef>
                      <a:spcPct val="20000"/>
                    </a:spcBef>
                    <a:spcAft>
                      <a:spcPts val="1200"/>
                    </a:spcAft>
                    <a:buClr>
                      <a:srgbClr val="3EA249"/>
                    </a:buClr>
                  </a:pPr>
                  <a:r>
                    <a:rPr lang="de-DE" altLang="de-DE" sz="800" b="0" dirty="0">
                      <a:solidFill>
                        <a:schemeClr val="bg1">
                          <a:lumMod val="65000"/>
                        </a:schemeClr>
                      </a:solidFill>
                      <a:latin typeface="Arial" charset="0"/>
                      <a:ea typeface="Arial" charset="0"/>
                      <a:cs typeface="Arial" charset="0"/>
                    </a:rPr>
                    <a:t>Quellen: Deutsche Rentenversicherung Bund; DAK Gesundheitsreport 2013; BMAS/</a:t>
                  </a:r>
                  <a:r>
                    <a:rPr lang="de-DE" altLang="de-DE" sz="800" b="0" dirty="0" err="1">
                      <a:solidFill>
                        <a:schemeClr val="bg1">
                          <a:lumMod val="65000"/>
                        </a:schemeClr>
                      </a:solidFill>
                      <a:latin typeface="Arial" charset="0"/>
                      <a:ea typeface="Arial" charset="0"/>
                      <a:cs typeface="Arial" charset="0"/>
                    </a:rPr>
                    <a:t>BAuA</a:t>
                  </a:r>
                  <a:r>
                    <a:rPr lang="de-DE" altLang="de-DE" sz="800" b="0" dirty="0">
                      <a:solidFill>
                        <a:schemeClr val="bg1">
                          <a:lumMod val="65000"/>
                        </a:schemeClr>
                      </a:solidFill>
                      <a:latin typeface="Arial" charset="0"/>
                      <a:ea typeface="Arial" charset="0"/>
                      <a:cs typeface="Arial" charset="0"/>
                    </a:rPr>
                    <a:t>: Sicherheit und Gesundheit bei der Arbeit 2013</a:t>
                  </a:r>
                </a:p>
              </p:txBody>
            </p:sp>
            <p:grpSp>
              <p:nvGrpSpPr>
                <p:cNvPr id="16" name="Gruppierung 12"/>
                <p:cNvGrpSpPr>
                  <a:grpSpLocks/>
                </p:cNvGrpSpPr>
                <p:nvPr/>
              </p:nvGrpSpPr>
              <p:grpSpPr bwMode="auto">
                <a:xfrm>
                  <a:off x="699811" y="2736859"/>
                  <a:ext cx="8131452" cy="2828180"/>
                  <a:chOff x="699811" y="2736859"/>
                  <a:chExt cx="8131452" cy="2828180"/>
                </a:xfrm>
              </p:grpSpPr>
              <p:graphicFrame>
                <p:nvGraphicFramePr>
                  <p:cNvPr id="17" name="Diagramm 3"/>
                  <p:cNvGraphicFramePr>
                    <a:graphicFrameLocks/>
                  </p:cNvGraphicFramePr>
                  <p:nvPr/>
                </p:nvGraphicFramePr>
                <p:xfrm>
                  <a:off x="699811" y="3070153"/>
                  <a:ext cx="2832144" cy="2494886"/>
                </p:xfrm>
                <a:graphic>
                  <a:graphicData uri="http://schemas.openxmlformats.org/presentationml/2006/ole">
                    <mc:AlternateContent xmlns:mc="http://schemas.openxmlformats.org/markup-compatibility/2006">
                      <mc:Choice xmlns:v="urn:schemas-microsoft-com:vml" Requires="v">
                        <p:oleObj r:id="rId2" imgW="2828310" imgH="2493058" progId="">
                          <p:embed/>
                        </p:oleObj>
                      </mc:Choice>
                      <mc:Fallback>
                        <p:oleObj r:id="rId2" imgW="2828310" imgH="2493058" progId="">
                          <p:embed/>
                          <p:pic>
                            <p:nvPicPr>
                              <p:cNvPr id="17" name="Diagramm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811" y="3070153"/>
                                <a:ext cx="2832144" cy="24948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Diagramm 13"/>
                  <p:cNvGraphicFramePr>
                    <a:graphicFrameLocks/>
                  </p:cNvGraphicFramePr>
                  <p:nvPr/>
                </p:nvGraphicFramePr>
                <p:xfrm>
                  <a:off x="5224140" y="2736859"/>
                  <a:ext cx="3587822" cy="2828180"/>
                </p:xfrm>
                <a:graphic>
                  <a:graphicData uri="http://schemas.openxmlformats.org/presentationml/2006/ole">
                    <mc:AlternateContent xmlns:mc="http://schemas.openxmlformats.org/markup-compatibility/2006">
                      <mc:Choice xmlns:v="urn:schemas-microsoft-com:vml" Requires="v">
                        <p:oleObj r:id="rId4" imgW="3590247" imgH="2828310" progId="">
                          <p:embed/>
                        </p:oleObj>
                      </mc:Choice>
                      <mc:Fallback>
                        <p:oleObj r:id="rId4" imgW="3590247" imgH="2828310" progId="">
                          <p:embed/>
                          <p:pic>
                            <p:nvPicPr>
                              <p:cNvPr id="18" name="Diagramm 1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4140" y="2736859"/>
                                <a:ext cx="3587822" cy="28281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9" name="Gerade Verbindung 18"/>
                  <p:cNvCxnSpPr/>
                  <p:nvPr/>
                </p:nvCxnSpPr>
                <p:spPr>
                  <a:xfrm>
                    <a:off x="814083" y="5111967"/>
                    <a:ext cx="801718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814083" y="5116729"/>
                    <a:ext cx="8017180"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21" name="Bild 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22824" y="3513929"/>
                    <a:ext cx="1917701" cy="15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1" name="Rechteck 10"/>
              <p:cNvSpPr>
                <a:spLocks noChangeArrowheads="1"/>
              </p:cNvSpPr>
              <p:nvPr/>
            </p:nvSpPr>
            <p:spPr bwMode="auto">
              <a:xfrm>
                <a:off x="1077516" y="4180561"/>
                <a:ext cx="957312" cy="26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gn="ctr">
                  <a:lnSpc>
                    <a:spcPct val="120000"/>
                  </a:lnSpc>
                  <a:spcBef>
                    <a:spcPct val="20000"/>
                  </a:spcBef>
                  <a:spcAft>
                    <a:spcPts val="1200"/>
                  </a:spcAft>
                  <a:buClr>
                    <a:srgbClr val="3EA249"/>
                  </a:buClr>
                </a:pPr>
                <a:r>
                  <a:rPr lang="de-DE" altLang="de-DE" sz="1400">
                    <a:solidFill>
                      <a:srgbClr val="5F7791"/>
                    </a:solidFill>
                    <a:ea typeface="MS PGothic" charset="-128"/>
                  </a:rPr>
                  <a:t>15,4 %</a:t>
                </a:r>
                <a:endParaRPr lang="de-DE" altLang="de-DE" sz="800">
                  <a:solidFill>
                    <a:srgbClr val="5F7791"/>
                  </a:solidFill>
                  <a:ea typeface="MS PGothic" charset="-128"/>
                </a:endParaRPr>
              </a:p>
            </p:txBody>
          </p:sp>
          <p:sp>
            <p:nvSpPr>
              <p:cNvPr id="12" name="Rechteck 6"/>
              <p:cNvSpPr>
                <a:spLocks noChangeArrowheads="1"/>
              </p:cNvSpPr>
              <p:nvPr/>
            </p:nvSpPr>
            <p:spPr bwMode="auto">
              <a:xfrm>
                <a:off x="2243450" y="3200755"/>
                <a:ext cx="957312" cy="26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gn="ctr">
                  <a:lnSpc>
                    <a:spcPct val="120000"/>
                  </a:lnSpc>
                  <a:spcBef>
                    <a:spcPct val="20000"/>
                  </a:spcBef>
                  <a:spcAft>
                    <a:spcPts val="1200"/>
                  </a:spcAft>
                  <a:buClr>
                    <a:srgbClr val="3EA249"/>
                  </a:buClr>
                </a:pPr>
                <a:r>
                  <a:rPr lang="de-DE" altLang="de-DE" sz="1400">
                    <a:solidFill>
                      <a:srgbClr val="5F7791"/>
                    </a:solidFill>
                    <a:ea typeface="MS PGothic" charset="-128"/>
                  </a:rPr>
                  <a:t>42,7 %</a:t>
                </a:r>
                <a:endParaRPr lang="de-DE" altLang="de-DE" sz="800">
                  <a:solidFill>
                    <a:srgbClr val="5F7791"/>
                  </a:solidFill>
                  <a:ea typeface="MS PGothic" charset="-128"/>
                </a:endParaRPr>
              </a:p>
            </p:txBody>
          </p:sp>
          <p:sp>
            <p:nvSpPr>
              <p:cNvPr id="13" name="Rechteck 6"/>
              <p:cNvSpPr>
                <a:spLocks noChangeArrowheads="1"/>
              </p:cNvSpPr>
              <p:nvPr/>
            </p:nvSpPr>
            <p:spPr bwMode="auto">
              <a:xfrm>
                <a:off x="5724010" y="4021465"/>
                <a:ext cx="1068784" cy="26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gn="ctr">
                  <a:lnSpc>
                    <a:spcPct val="120000"/>
                  </a:lnSpc>
                  <a:spcBef>
                    <a:spcPct val="20000"/>
                  </a:spcBef>
                  <a:spcAft>
                    <a:spcPts val="1200"/>
                  </a:spcAft>
                  <a:buClr>
                    <a:srgbClr val="3EA249"/>
                  </a:buClr>
                </a:pPr>
                <a:r>
                  <a:rPr lang="de-DE" altLang="de-DE" sz="1400">
                    <a:solidFill>
                      <a:srgbClr val="5F7791"/>
                    </a:solidFill>
                    <a:ea typeface="MS PGothic" charset="-128"/>
                  </a:rPr>
                  <a:t>33,5 Mio.</a:t>
                </a:r>
                <a:endParaRPr lang="de-DE" altLang="de-DE" sz="800">
                  <a:solidFill>
                    <a:srgbClr val="5F7791"/>
                  </a:solidFill>
                  <a:ea typeface="MS PGothic" charset="-128"/>
                </a:endParaRPr>
              </a:p>
            </p:txBody>
          </p:sp>
          <p:sp>
            <p:nvSpPr>
              <p:cNvPr id="14" name="Rechteck 6"/>
              <p:cNvSpPr>
                <a:spLocks noChangeArrowheads="1"/>
              </p:cNvSpPr>
              <p:nvPr/>
            </p:nvSpPr>
            <p:spPr bwMode="auto">
              <a:xfrm>
                <a:off x="7236235" y="3047115"/>
                <a:ext cx="1068784" cy="26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355600" algn="l"/>
                  </a:tabLst>
                  <a:defRPr sz="2400" b="1">
                    <a:solidFill>
                      <a:srgbClr val="6F7878"/>
                    </a:solidFill>
                    <a:latin typeface="Tahoma" charset="0"/>
                    <a:ea typeface="ＭＳ Ｐゴシック" charset="-128"/>
                  </a:defRPr>
                </a:lvl1pPr>
                <a:lvl2pPr marL="742950" indent="-285750" eaLnBrk="0" hangingPunct="0">
                  <a:tabLst>
                    <a:tab pos="355600" algn="l"/>
                  </a:tabLst>
                  <a:defRPr sz="2400" b="1">
                    <a:solidFill>
                      <a:srgbClr val="6F7878"/>
                    </a:solidFill>
                    <a:latin typeface="Tahoma" charset="0"/>
                    <a:ea typeface="ＭＳ Ｐゴシック" charset="-128"/>
                  </a:defRPr>
                </a:lvl2pPr>
                <a:lvl3pPr marL="1143000" indent="-228600" eaLnBrk="0" hangingPunct="0">
                  <a:tabLst>
                    <a:tab pos="355600" algn="l"/>
                  </a:tabLst>
                  <a:defRPr sz="2400" b="1">
                    <a:solidFill>
                      <a:srgbClr val="6F7878"/>
                    </a:solidFill>
                    <a:latin typeface="Tahoma" charset="0"/>
                    <a:ea typeface="ＭＳ Ｐゴシック" charset="-128"/>
                  </a:defRPr>
                </a:lvl3pPr>
                <a:lvl4pPr marL="1600200" indent="-228600" eaLnBrk="0" hangingPunct="0">
                  <a:tabLst>
                    <a:tab pos="355600" algn="l"/>
                  </a:tabLst>
                  <a:defRPr sz="2400" b="1">
                    <a:solidFill>
                      <a:srgbClr val="6F7878"/>
                    </a:solidFill>
                    <a:latin typeface="Tahoma" charset="0"/>
                    <a:ea typeface="ＭＳ Ｐゴシック" charset="-128"/>
                  </a:defRPr>
                </a:lvl4pPr>
                <a:lvl5pPr marL="2057400" indent="-228600" eaLnBrk="0" hangingPunct="0">
                  <a:tabLst>
                    <a:tab pos="355600" algn="l"/>
                  </a:tabLst>
                  <a:defRPr sz="2400" b="1">
                    <a:solidFill>
                      <a:srgbClr val="6F7878"/>
                    </a:solidFill>
                    <a:latin typeface="Tahoma" charset="0"/>
                    <a:ea typeface="ＭＳ Ｐゴシック" charset="-128"/>
                  </a:defRPr>
                </a:lvl5pPr>
                <a:lvl6pPr marL="25146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6pPr>
                <a:lvl7pPr marL="29718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7pPr>
                <a:lvl8pPr marL="34290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8pPr>
                <a:lvl9pPr marL="3886200" indent="-228600" defTabSz="457200" eaLnBrk="0" fontAlgn="base" hangingPunct="0">
                  <a:spcBef>
                    <a:spcPct val="0"/>
                  </a:spcBef>
                  <a:spcAft>
                    <a:spcPct val="0"/>
                  </a:spcAft>
                  <a:tabLst>
                    <a:tab pos="355600" algn="l"/>
                  </a:tabLst>
                  <a:defRPr sz="2400" b="1">
                    <a:solidFill>
                      <a:srgbClr val="6F7878"/>
                    </a:solidFill>
                    <a:latin typeface="Tahoma" charset="0"/>
                    <a:ea typeface="ＭＳ Ｐゴシック" charset="-128"/>
                  </a:defRPr>
                </a:lvl9pPr>
              </a:lstStyle>
              <a:p>
                <a:pPr algn="ctr">
                  <a:lnSpc>
                    <a:spcPct val="120000"/>
                  </a:lnSpc>
                  <a:spcBef>
                    <a:spcPct val="20000"/>
                  </a:spcBef>
                  <a:spcAft>
                    <a:spcPts val="1200"/>
                  </a:spcAft>
                  <a:buClr>
                    <a:srgbClr val="3EA249"/>
                  </a:buClr>
                </a:pPr>
                <a:r>
                  <a:rPr lang="de-DE" altLang="de-DE" sz="1400">
                    <a:solidFill>
                      <a:srgbClr val="5F7791"/>
                    </a:solidFill>
                    <a:ea typeface="MS PGothic" charset="-128"/>
                  </a:rPr>
                  <a:t>79 Mio.</a:t>
                </a:r>
                <a:endParaRPr lang="de-DE" altLang="de-DE" sz="800">
                  <a:solidFill>
                    <a:srgbClr val="5F7791"/>
                  </a:solidFill>
                  <a:ea typeface="MS PGothic" charset="-128"/>
                </a:endParaRPr>
              </a:p>
            </p:txBody>
          </p:sp>
        </p:grpSp>
      </p:grpSp>
    </p:spTree>
    <p:extLst>
      <p:ext uri="{BB962C8B-B14F-4D97-AF65-F5344CB8AC3E}">
        <p14:creationId xmlns:p14="http://schemas.microsoft.com/office/powerpoint/2010/main" val="703955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hteck 62"/>
          <p:cNvSpPr/>
          <p:nvPr/>
        </p:nvSpPr>
        <p:spPr>
          <a:xfrm>
            <a:off x="5205414" y="1196976"/>
            <a:ext cx="1760537" cy="4962525"/>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62" name="Rechteck 61"/>
          <p:cNvSpPr/>
          <p:nvPr/>
        </p:nvSpPr>
        <p:spPr>
          <a:xfrm>
            <a:off x="6965950" y="1196976"/>
            <a:ext cx="3168650" cy="4962525"/>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61" name="Rechteck 60"/>
          <p:cNvSpPr/>
          <p:nvPr/>
        </p:nvSpPr>
        <p:spPr>
          <a:xfrm>
            <a:off x="1992314" y="1196976"/>
            <a:ext cx="3216275" cy="4962525"/>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25606" name="Titel 4"/>
          <p:cNvSpPr>
            <a:spLocks noGrp="1"/>
          </p:cNvSpPr>
          <p:nvPr>
            <p:ph type="title"/>
          </p:nvPr>
        </p:nvSpPr>
        <p:spPr/>
        <p:txBody>
          <a:bodyPr/>
          <a:lstStyle/>
          <a:p>
            <a:r>
              <a:rPr lang="de-DE" altLang="de-DE" dirty="0"/>
              <a:t>Risikofaktoren am Arbeitsplatz</a:t>
            </a:r>
          </a:p>
        </p:txBody>
      </p:sp>
      <p:sp>
        <p:nvSpPr>
          <p:cNvPr id="6" name="Textfeld 5"/>
          <p:cNvSpPr txBox="1">
            <a:spLocks noChangeArrowheads="1"/>
          </p:cNvSpPr>
          <p:nvPr/>
        </p:nvSpPr>
        <p:spPr bwMode="auto">
          <a:xfrm>
            <a:off x="5207001" y="4494213"/>
            <a:ext cx="1743075"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ea typeface="Arial" charset="0"/>
                <a:cs typeface="Arial" charset="0"/>
              </a:rPr>
              <a:t>individuelle Besonderheiten </a:t>
            </a:r>
          </a:p>
        </p:txBody>
      </p:sp>
      <p:sp>
        <p:nvSpPr>
          <p:cNvPr id="7" name="Textfeld 6"/>
          <p:cNvSpPr txBox="1">
            <a:spLocks noChangeArrowheads="1"/>
          </p:cNvSpPr>
          <p:nvPr/>
        </p:nvSpPr>
        <p:spPr bwMode="auto">
          <a:xfrm>
            <a:off x="7521575" y="3665538"/>
            <a:ext cx="2152650"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ea typeface="Arial" charset="0"/>
                <a:cs typeface="Arial" charset="0"/>
              </a:rPr>
              <a:t>individuelle Auswirkungen</a:t>
            </a:r>
          </a:p>
        </p:txBody>
      </p:sp>
      <p:sp>
        <p:nvSpPr>
          <p:cNvPr id="8" name="Textfeld 7"/>
          <p:cNvSpPr txBox="1">
            <a:spLocks noChangeArrowheads="1"/>
          </p:cNvSpPr>
          <p:nvPr/>
        </p:nvSpPr>
        <p:spPr bwMode="auto">
          <a:xfrm>
            <a:off x="2462213" y="1360488"/>
            <a:ext cx="2152650"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ea typeface="Arial" charset="0"/>
                <a:cs typeface="Arial" charset="0"/>
              </a:rPr>
              <a:t>gesellschaftliche Faktoren</a:t>
            </a:r>
          </a:p>
        </p:txBody>
      </p:sp>
      <p:sp>
        <p:nvSpPr>
          <p:cNvPr id="9" name="Textfeld 8"/>
          <p:cNvSpPr txBox="1">
            <a:spLocks noChangeArrowheads="1"/>
          </p:cNvSpPr>
          <p:nvPr/>
        </p:nvSpPr>
        <p:spPr bwMode="auto">
          <a:xfrm>
            <a:off x="2473326" y="2551113"/>
            <a:ext cx="2162175"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dirty="0">
                <a:ea typeface="Arial" charset="0"/>
                <a:cs typeface="Arial" charset="0"/>
              </a:rPr>
              <a:t>Faktoren im Unternehmen</a:t>
            </a:r>
          </a:p>
        </p:txBody>
      </p:sp>
      <p:sp>
        <p:nvSpPr>
          <p:cNvPr id="10" name="Textfeld 9"/>
          <p:cNvSpPr txBox="1">
            <a:spLocks noChangeArrowheads="1"/>
          </p:cNvSpPr>
          <p:nvPr/>
        </p:nvSpPr>
        <p:spPr bwMode="auto">
          <a:xfrm>
            <a:off x="2463800" y="3675063"/>
            <a:ext cx="2171700"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ea typeface="Arial" charset="0"/>
                <a:cs typeface="Arial" charset="0"/>
              </a:rPr>
              <a:t>individuelle Arbeitsbedingungen</a:t>
            </a:r>
          </a:p>
        </p:txBody>
      </p:sp>
      <p:sp>
        <p:nvSpPr>
          <p:cNvPr id="11" name="Textfeld 10"/>
          <p:cNvSpPr txBox="1">
            <a:spLocks noChangeArrowheads="1"/>
          </p:cNvSpPr>
          <p:nvPr/>
        </p:nvSpPr>
        <p:spPr bwMode="auto">
          <a:xfrm>
            <a:off x="5210176" y="2551113"/>
            <a:ext cx="1743075"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defRPr/>
            </a:pPr>
            <a:r>
              <a:rPr lang="de-DE" sz="1600" b="1" dirty="0">
                <a:latin typeface="Arial" charset="0"/>
                <a:ea typeface="Arial" charset="0"/>
                <a:cs typeface="Arial" charset="0"/>
              </a:rPr>
              <a:t>Stress am Arbeitsplatz</a:t>
            </a:r>
          </a:p>
        </p:txBody>
      </p:sp>
      <p:cxnSp>
        <p:nvCxnSpPr>
          <p:cNvPr id="25613" name="Gerade Verbindung mit Pfeil 11"/>
          <p:cNvCxnSpPr>
            <a:cxnSpLocks noChangeShapeType="1"/>
          </p:cNvCxnSpPr>
          <p:nvPr/>
        </p:nvCxnSpPr>
        <p:spPr bwMode="auto">
          <a:xfrm flipV="1">
            <a:off x="6073776" y="5053014"/>
            <a:ext cx="4763" cy="34607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14" name="Gerade Verbindung mit Pfeil 12"/>
          <p:cNvCxnSpPr>
            <a:cxnSpLocks noChangeShapeType="1"/>
          </p:cNvCxnSpPr>
          <p:nvPr/>
        </p:nvCxnSpPr>
        <p:spPr bwMode="auto">
          <a:xfrm flipV="1">
            <a:off x="6073776" y="5053014"/>
            <a:ext cx="4763" cy="34607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15" name="Gerade Verbindung mit Pfeil 13"/>
          <p:cNvCxnSpPr>
            <a:cxnSpLocks noChangeShapeType="1"/>
          </p:cNvCxnSpPr>
          <p:nvPr/>
        </p:nvCxnSpPr>
        <p:spPr bwMode="auto">
          <a:xfrm rot="10800000" flipV="1">
            <a:off x="6950076" y="4773613"/>
            <a:ext cx="1628775"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16" name="Gerade Verbindung mit Pfeil 14"/>
          <p:cNvCxnSpPr>
            <a:cxnSpLocks noChangeShapeType="1"/>
          </p:cNvCxnSpPr>
          <p:nvPr/>
        </p:nvCxnSpPr>
        <p:spPr bwMode="auto">
          <a:xfrm flipV="1">
            <a:off x="6073776" y="5053014"/>
            <a:ext cx="4763" cy="34607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17" name="Gerade Verbindung mit Pfeil 15"/>
          <p:cNvCxnSpPr>
            <a:cxnSpLocks noChangeShapeType="1"/>
          </p:cNvCxnSpPr>
          <p:nvPr/>
        </p:nvCxnSpPr>
        <p:spPr bwMode="auto">
          <a:xfrm flipH="1">
            <a:off x="3549651" y="3109913"/>
            <a:ext cx="4763" cy="56515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18" name="Gerade Verbindung 16"/>
          <p:cNvCxnSpPr>
            <a:cxnSpLocks noChangeShapeType="1"/>
            <a:stCxn id="25633" idx="0"/>
            <a:endCxn id="25632" idx="2"/>
          </p:cNvCxnSpPr>
          <p:nvPr/>
        </p:nvCxnSpPr>
        <p:spPr bwMode="auto">
          <a:xfrm flipV="1">
            <a:off x="8605838" y="1909763"/>
            <a:ext cx="0" cy="64135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19" name="Gerade Verbindung 17"/>
          <p:cNvCxnSpPr>
            <a:cxnSpLocks noChangeShapeType="1"/>
            <a:stCxn id="25632" idx="1"/>
          </p:cNvCxnSpPr>
          <p:nvPr/>
        </p:nvCxnSpPr>
        <p:spPr bwMode="auto">
          <a:xfrm rot="10800000">
            <a:off x="7207251" y="1628775"/>
            <a:ext cx="303213" cy="1588"/>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0" name="Gerade Verbindung mit Pfeil 18"/>
          <p:cNvCxnSpPr>
            <a:cxnSpLocks noChangeShapeType="1"/>
          </p:cNvCxnSpPr>
          <p:nvPr/>
        </p:nvCxnSpPr>
        <p:spPr bwMode="auto">
          <a:xfrm rot="5400000">
            <a:off x="3248026" y="2254251"/>
            <a:ext cx="569913" cy="4763"/>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21" name="Gerade Verbindung mit Pfeil 19"/>
          <p:cNvCxnSpPr>
            <a:cxnSpLocks noChangeShapeType="1"/>
          </p:cNvCxnSpPr>
          <p:nvPr/>
        </p:nvCxnSpPr>
        <p:spPr bwMode="auto">
          <a:xfrm>
            <a:off x="6953250" y="2830513"/>
            <a:ext cx="566738"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22" name="Gerade Verbindung 20"/>
          <p:cNvCxnSpPr>
            <a:cxnSpLocks noChangeShapeType="1"/>
            <a:stCxn id="25634" idx="0"/>
            <a:endCxn id="25633" idx="2"/>
          </p:cNvCxnSpPr>
          <p:nvPr/>
        </p:nvCxnSpPr>
        <p:spPr bwMode="auto">
          <a:xfrm flipV="1">
            <a:off x="8597900" y="3109914"/>
            <a:ext cx="7938" cy="5556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3" name="Gerade Verbindung 21"/>
          <p:cNvCxnSpPr>
            <a:cxnSpLocks noChangeShapeType="1"/>
            <a:stCxn id="25633" idx="0"/>
            <a:endCxn id="25632" idx="2"/>
          </p:cNvCxnSpPr>
          <p:nvPr/>
        </p:nvCxnSpPr>
        <p:spPr bwMode="auto">
          <a:xfrm flipV="1">
            <a:off x="8605838" y="1909763"/>
            <a:ext cx="0" cy="64135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4" name="Gerade Verbindung mit Pfeil 22"/>
          <p:cNvCxnSpPr>
            <a:cxnSpLocks noChangeShapeType="1"/>
          </p:cNvCxnSpPr>
          <p:nvPr/>
        </p:nvCxnSpPr>
        <p:spPr bwMode="auto">
          <a:xfrm rot="5400000" flipH="1" flipV="1">
            <a:off x="5379244" y="3798094"/>
            <a:ext cx="1390650" cy="14288"/>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25" name="Gerade Verbindung 23"/>
          <p:cNvCxnSpPr>
            <a:cxnSpLocks noChangeShapeType="1"/>
            <a:endCxn id="25634" idx="2"/>
          </p:cNvCxnSpPr>
          <p:nvPr/>
        </p:nvCxnSpPr>
        <p:spPr bwMode="auto">
          <a:xfrm rot="16200000" flipV="1">
            <a:off x="8112126" y="4710113"/>
            <a:ext cx="979487" cy="7938"/>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6" name="Gerade Verbindung 24"/>
          <p:cNvCxnSpPr>
            <a:cxnSpLocks noChangeShapeType="1"/>
            <a:stCxn id="25634" idx="0"/>
            <a:endCxn id="25633" idx="2"/>
          </p:cNvCxnSpPr>
          <p:nvPr/>
        </p:nvCxnSpPr>
        <p:spPr bwMode="auto">
          <a:xfrm flipV="1">
            <a:off x="8597900" y="3109914"/>
            <a:ext cx="7938" cy="5556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7" name="Gerade Verbindung 25"/>
          <p:cNvCxnSpPr>
            <a:cxnSpLocks noChangeShapeType="1"/>
            <a:stCxn id="25634" idx="1"/>
          </p:cNvCxnSpPr>
          <p:nvPr/>
        </p:nvCxnSpPr>
        <p:spPr bwMode="auto">
          <a:xfrm rot="10800000" flipV="1">
            <a:off x="7197725" y="3944939"/>
            <a:ext cx="323850" cy="95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8" name="Gerade Verbindung 26"/>
          <p:cNvCxnSpPr>
            <a:cxnSpLocks noChangeShapeType="1"/>
            <a:stCxn id="25632" idx="1"/>
          </p:cNvCxnSpPr>
          <p:nvPr/>
        </p:nvCxnSpPr>
        <p:spPr bwMode="auto">
          <a:xfrm rot="10800000">
            <a:off x="7207251" y="1628775"/>
            <a:ext cx="303213" cy="1588"/>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29" name="Gerade Verbindung 27"/>
          <p:cNvCxnSpPr>
            <a:cxnSpLocks noChangeShapeType="1"/>
            <a:stCxn id="25634" idx="1"/>
          </p:cNvCxnSpPr>
          <p:nvPr/>
        </p:nvCxnSpPr>
        <p:spPr bwMode="auto">
          <a:xfrm rot="10800000" flipV="1">
            <a:off x="7197725" y="3944939"/>
            <a:ext cx="323850" cy="95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30" name="Gerade Verbindung mit Pfeil 28"/>
          <p:cNvCxnSpPr>
            <a:cxnSpLocks noChangeShapeType="1"/>
          </p:cNvCxnSpPr>
          <p:nvPr/>
        </p:nvCxnSpPr>
        <p:spPr bwMode="auto">
          <a:xfrm flipH="1">
            <a:off x="3549651" y="3109913"/>
            <a:ext cx="4763" cy="56515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1" name="Gerade Verbindung 29"/>
          <p:cNvCxnSpPr>
            <a:cxnSpLocks noChangeShapeType="1"/>
          </p:cNvCxnSpPr>
          <p:nvPr/>
        </p:nvCxnSpPr>
        <p:spPr bwMode="auto">
          <a:xfrm rot="16200000" flipH="1">
            <a:off x="6026151" y="2790826"/>
            <a:ext cx="2333625" cy="635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32" name="Gerade Verbindung mit Pfeil 30"/>
          <p:cNvCxnSpPr>
            <a:cxnSpLocks noChangeShapeType="1"/>
          </p:cNvCxnSpPr>
          <p:nvPr/>
        </p:nvCxnSpPr>
        <p:spPr bwMode="auto">
          <a:xfrm rot="5400000" flipH="1" flipV="1">
            <a:off x="3048795" y="4733133"/>
            <a:ext cx="1000125" cy="1587"/>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3" name="Gerade Verbindung mit Pfeil 31"/>
          <p:cNvCxnSpPr>
            <a:cxnSpLocks noChangeShapeType="1"/>
          </p:cNvCxnSpPr>
          <p:nvPr/>
        </p:nvCxnSpPr>
        <p:spPr bwMode="auto">
          <a:xfrm flipH="1">
            <a:off x="3549651" y="3109913"/>
            <a:ext cx="4763" cy="56515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4" name="Gerade Verbindung 32"/>
          <p:cNvCxnSpPr>
            <a:cxnSpLocks noChangeShapeType="1"/>
            <a:stCxn id="25633" idx="0"/>
            <a:endCxn id="25632" idx="2"/>
          </p:cNvCxnSpPr>
          <p:nvPr/>
        </p:nvCxnSpPr>
        <p:spPr bwMode="auto">
          <a:xfrm flipV="1">
            <a:off x="8605838" y="1909763"/>
            <a:ext cx="0" cy="64135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35" name="Gerade Verbindung mit Pfeil 33"/>
          <p:cNvCxnSpPr>
            <a:cxnSpLocks noChangeShapeType="1"/>
          </p:cNvCxnSpPr>
          <p:nvPr/>
        </p:nvCxnSpPr>
        <p:spPr bwMode="auto">
          <a:xfrm>
            <a:off x="6953250" y="2830513"/>
            <a:ext cx="566738"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6" name="Gerade Verbindung mit Pfeil 34"/>
          <p:cNvCxnSpPr>
            <a:cxnSpLocks noChangeShapeType="1"/>
          </p:cNvCxnSpPr>
          <p:nvPr/>
        </p:nvCxnSpPr>
        <p:spPr bwMode="auto">
          <a:xfrm rot="5400000" flipH="1" flipV="1">
            <a:off x="5379244" y="3798094"/>
            <a:ext cx="1390650" cy="14288"/>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7" name="Gerade Verbindung mit Pfeil 35"/>
          <p:cNvCxnSpPr>
            <a:cxnSpLocks noChangeShapeType="1"/>
            <a:endCxn id="25638" idx="1"/>
          </p:cNvCxnSpPr>
          <p:nvPr/>
        </p:nvCxnSpPr>
        <p:spPr bwMode="auto">
          <a:xfrm flipV="1">
            <a:off x="4619625" y="2830514"/>
            <a:ext cx="590550" cy="952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38" name="Gerade Verbindung 36"/>
          <p:cNvCxnSpPr>
            <a:cxnSpLocks noChangeShapeType="1"/>
            <a:stCxn id="25634" idx="0"/>
            <a:endCxn id="25633" idx="2"/>
          </p:cNvCxnSpPr>
          <p:nvPr/>
        </p:nvCxnSpPr>
        <p:spPr bwMode="auto">
          <a:xfrm flipV="1">
            <a:off x="8597900" y="3109914"/>
            <a:ext cx="7938" cy="5556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39" name="Gerade Verbindung 37"/>
          <p:cNvCxnSpPr>
            <a:cxnSpLocks noChangeShapeType="1"/>
            <a:endCxn id="25634" idx="2"/>
          </p:cNvCxnSpPr>
          <p:nvPr/>
        </p:nvCxnSpPr>
        <p:spPr bwMode="auto">
          <a:xfrm rot="16200000" flipV="1">
            <a:off x="8112126" y="4710113"/>
            <a:ext cx="979487" cy="7938"/>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40" name="Gerade Verbindung 38"/>
          <p:cNvCxnSpPr>
            <a:cxnSpLocks noChangeShapeType="1"/>
          </p:cNvCxnSpPr>
          <p:nvPr/>
        </p:nvCxnSpPr>
        <p:spPr bwMode="auto">
          <a:xfrm rot="10800000">
            <a:off x="3529013" y="5195888"/>
            <a:ext cx="5067300" cy="1905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41" name="Gerade Verbindung mit Pfeil 39"/>
          <p:cNvCxnSpPr>
            <a:cxnSpLocks noChangeShapeType="1"/>
          </p:cNvCxnSpPr>
          <p:nvPr/>
        </p:nvCxnSpPr>
        <p:spPr bwMode="auto">
          <a:xfrm rot="5400000" flipH="1" flipV="1">
            <a:off x="3048795" y="4733133"/>
            <a:ext cx="1000125" cy="1587"/>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42" name="Gerade Verbindung mit Pfeil 40"/>
          <p:cNvCxnSpPr>
            <a:cxnSpLocks noChangeShapeType="1"/>
          </p:cNvCxnSpPr>
          <p:nvPr/>
        </p:nvCxnSpPr>
        <p:spPr bwMode="auto">
          <a:xfrm rot="10800000" flipV="1">
            <a:off x="6950076" y="4773613"/>
            <a:ext cx="1628775"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43" name="Gerade Verbindung mit Pfeil 41"/>
          <p:cNvCxnSpPr>
            <a:cxnSpLocks noChangeShapeType="1"/>
          </p:cNvCxnSpPr>
          <p:nvPr/>
        </p:nvCxnSpPr>
        <p:spPr bwMode="auto">
          <a:xfrm>
            <a:off x="6953250" y="2830513"/>
            <a:ext cx="566738"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44" name="Gerade Verbindung mit Pfeil 42"/>
          <p:cNvCxnSpPr>
            <a:cxnSpLocks noChangeShapeType="1"/>
            <a:endCxn id="25638" idx="1"/>
          </p:cNvCxnSpPr>
          <p:nvPr/>
        </p:nvCxnSpPr>
        <p:spPr bwMode="auto">
          <a:xfrm flipV="1">
            <a:off x="4619625" y="2830514"/>
            <a:ext cx="590550" cy="952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45" name="Gerade Verbindung 43"/>
          <p:cNvCxnSpPr>
            <a:cxnSpLocks noChangeShapeType="1"/>
          </p:cNvCxnSpPr>
          <p:nvPr/>
        </p:nvCxnSpPr>
        <p:spPr bwMode="auto">
          <a:xfrm rot="5400000">
            <a:off x="3835401" y="2798763"/>
            <a:ext cx="2324100" cy="31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46" name="Gerade Verbindung 44"/>
          <p:cNvCxnSpPr>
            <a:cxnSpLocks noChangeShapeType="1"/>
          </p:cNvCxnSpPr>
          <p:nvPr/>
        </p:nvCxnSpPr>
        <p:spPr bwMode="auto">
          <a:xfrm rot="10800000">
            <a:off x="4635501" y="3951289"/>
            <a:ext cx="371475" cy="95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47" name="Gerade Verbindung 45"/>
          <p:cNvCxnSpPr>
            <a:cxnSpLocks noChangeShapeType="1"/>
          </p:cNvCxnSpPr>
          <p:nvPr/>
        </p:nvCxnSpPr>
        <p:spPr bwMode="auto">
          <a:xfrm rot="10800000" flipV="1">
            <a:off x="4635501" y="1636713"/>
            <a:ext cx="371475"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47" name="Textfeld 46"/>
          <p:cNvSpPr txBox="1">
            <a:spLocks noChangeArrowheads="1"/>
          </p:cNvSpPr>
          <p:nvPr/>
        </p:nvSpPr>
        <p:spPr bwMode="auto">
          <a:xfrm>
            <a:off x="7510463" y="1350963"/>
            <a:ext cx="2190750"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ea typeface="Arial" charset="0"/>
                <a:cs typeface="Arial" charset="0"/>
              </a:rPr>
              <a:t>gesellschaftliche Auswirkungen</a:t>
            </a:r>
          </a:p>
        </p:txBody>
      </p:sp>
      <p:sp>
        <p:nvSpPr>
          <p:cNvPr id="48" name="Textfeld 47"/>
          <p:cNvSpPr txBox="1">
            <a:spLocks noChangeArrowheads="1"/>
          </p:cNvSpPr>
          <p:nvPr/>
        </p:nvSpPr>
        <p:spPr bwMode="auto">
          <a:xfrm>
            <a:off x="7519988" y="2551113"/>
            <a:ext cx="2171700" cy="584200"/>
          </a:xfrm>
          <a:prstGeom prst="rect">
            <a:avLst/>
          </a:prstGeom>
          <a:solidFill>
            <a:schemeClr val="accent1">
              <a:lumMod val="60000"/>
              <a:lumOff val="40000"/>
            </a:schemeClr>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600">
                <a:ea typeface="Arial" charset="0"/>
                <a:cs typeface="Arial" charset="0"/>
              </a:rPr>
              <a:t>Auswirkungen im Unternehmen</a:t>
            </a:r>
          </a:p>
        </p:txBody>
      </p:sp>
      <p:sp>
        <p:nvSpPr>
          <p:cNvPr id="49" name="Textfeld 48"/>
          <p:cNvSpPr txBox="1">
            <a:spLocks noChangeArrowheads="1"/>
          </p:cNvSpPr>
          <p:nvPr/>
        </p:nvSpPr>
        <p:spPr bwMode="auto">
          <a:xfrm>
            <a:off x="3797300" y="5399089"/>
            <a:ext cx="4552950" cy="338137"/>
          </a:xfrm>
          <a:prstGeom prst="rect">
            <a:avLst/>
          </a:prstGeom>
          <a:solidFill>
            <a:schemeClr val="accent3"/>
          </a:solidFill>
          <a:ln w="9525">
            <a:solidFill>
              <a:schemeClr val="tx1"/>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defRPr/>
            </a:pPr>
            <a:r>
              <a:rPr lang="de-DE" sz="1600" b="1" dirty="0">
                <a:latin typeface="Arial" charset="0"/>
                <a:ea typeface="Arial" charset="0"/>
                <a:cs typeface="Arial" charset="0"/>
              </a:rPr>
              <a:t>Präventionsmaßnahmen und Interventionen</a:t>
            </a:r>
          </a:p>
        </p:txBody>
      </p:sp>
      <p:cxnSp>
        <p:nvCxnSpPr>
          <p:cNvPr id="25651" name="Gerade Verbindung 49"/>
          <p:cNvCxnSpPr>
            <a:cxnSpLocks noChangeShapeType="1"/>
          </p:cNvCxnSpPr>
          <p:nvPr/>
        </p:nvCxnSpPr>
        <p:spPr bwMode="auto">
          <a:xfrm rot="5400000">
            <a:off x="823914" y="4198939"/>
            <a:ext cx="2744787" cy="1587"/>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52" name="Gerade Verbindung mit Pfeil 50"/>
          <p:cNvCxnSpPr>
            <a:cxnSpLocks noChangeShapeType="1"/>
          </p:cNvCxnSpPr>
          <p:nvPr/>
        </p:nvCxnSpPr>
        <p:spPr bwMode="auto">
          <a:xfrm flipH="1">
            <a:off x="3549651" y="3109913"/>
            <a:ext cx="4763" cy="56515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53" name="Gerade Verbindung mit Pfeil 51"/>
          <p:cNvCxnSpPr>
            <a:cxnSpLocks noChangeShapeType="1"/>
          </p:cNvCxnSpPr>
          <p:nvPr/>
        </p:nvCxnSpPr>
        <p:spPr bwMode="auto">
          <a:xfrm rot="5400000" flipH="1" flipV="1">
            <a:off x="3048795" y="4733133"/>
            <a:ext cx="1000125" cy="1587"/>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54" name="Gerade Verbindung 52"/>
          <p:cNvCxnSpPr>
            <a:cxnSpLocks noChangeShapeType="1"/>
          </p:cNvCxnSpPr>
          <p:nvPr/>
        </p:nvCxnSpPr>
        <p:spPr bwMode="auto">
          <a:xfrm rot="10800000">
            <a:off x="2187576" y="5561014"/>
            <a:ext cx="1609725" cy="95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55" name="Gerade Verbindung 53"/>
          <p:cNvCxnSpPr>
            <a:cxnSpLocks noChangeShapeType="1"/>
          </p:cNvCxnSpPr>
          <p:nvPr/>
        </p:nvCxnSpPr>
        <p:spPr bwMode="auto">
          <a:xfrm rot="5400000">
            <a:off x="823914" y="4198939"/>
            <a:ext cx="2744787" cy="1587"/>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5656" name="Gerade Verbindung mit Pfeil 54"/>
          <p:cNvCxnSpPr>
            <a:cxnSpLocks noChangeShapeType="1"/>
          </p:cNvCxnSpPr>
          <p:nvPr/>
        </p:nvCxnSpPr>
        <p:spPr bwMode="auto">
          <a:xfrm>
            <a:off x="2197101" y="2833688"/>
            <a:ext cx="276225"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5657" name="Gerade Verbindung mit Pfeil 55"/>
          <p:cNvCxnSpPr>
            <a:cxnSpLocks noChangeShapeType="1"/>
          </p:cNvCxnSpPr>
          <p:nvPr/>
        </p:nvCxnSpPr>
        <p:spPr bwMode="auto">
          <a:xfrm flipV="1">
            <a:off x="2206626" y="3954464"/>
            <a:ext cx="257175" cy="952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sp>
        <p:nvSpPr>
          <p:cNvPr id="25658" name="Textfeld 66"/>
          <p:cNvSpPr txBox="1">
            <a:spLocks noChangeArrowheads="1"/>
          </p:cNvSpPr>
          <p:nvPr/>
        </p:nvSpPr>
        <p:spPr bwMode="auto">
          <a:xfrm>
            <a:off x="3124200" y="5759450"/>
            <a:ext cx="1125538" cy="4000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r>
              <a:rPr lang="de-DE" altLang="de-DE" sz="2000" b="1"/>
              <a:t>Einflüsse</a:t>
            </a:r>
          </a:p>
        </p:txBody>
      </p:sp>
      <p:sp>
        <p:nvSpPr>
          <p:cNvPr id="25659" name="Textfeld 67"/>
          <p:cNvSpPr txBox="1">
            <a:spLocks noChangeArrowheads="1"/>
          </p:cNvSpPr>
          <p:nvPr/>
        </p:nvSpPr>
        <p:spPr bwMode="auto">
          <a:xfrm>
            <a:off x="7753351" y="5765800"/>
            <a:ext cx="1706563" cy="4000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r>
              <a:rPr lang="de-DE" altLang="de-DE" sz="2000" b="1"/>
              <a:t>Auswirkungen</a:t>
            </a:r>
          </a:p>
        </p:txBody>
      </p:sp>
    </p:spTree>
    <p:extLst>
      <p:ext uri="{BB962C8B-B14F-4D97-AF65-F5344CB8AC3E}">
        <p14:creationId xmlns:p14="http://schemas.microsoft.com/office/powerpoint/2010/main" val="1989352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el 4"/>
          <p:cNvSpPr>
            <a:spLocks noGrp="1"/>
          </p:cNvSpPr>
          <p:nvPr>
            <p:ph type="title"/>
          </p:nvPr>
        </p:nvSpPr>
        <p:spPr/>
        <p:txBody>
          <a:bodyPr/>
          <a:lstStyle/>
          <a:p>
            <a:r>
              <a:rPr lang="de-DE" altLang="de-DE"/>
              <a:t>Arbeitsbedingter Stress bei der Arbeit</a:t>
            </a:r>
          </a:p>
        </p:txBody>
      </p:sp>
      <p:grpSp>
        <p:nvGrpSpPr>
          <p:cNvPr id="6" name="Group 25"/>
          <p:cNvGrpSpPr>
            <a:grpSpLocks/>
          </p:cNvGrpSpPr>
          <p:nvPr/>
        </p:nvGrpSpPr>
        <p:grpSpPr bwMode="auto">
          <a:xfrm>
            <a:off x="2533219" y="1340768"/>
            <a:ext cx="7667238" cy="4780362"/>
            <a:chOff x="656" y="1535"/>
            <a:chExt cx="4682" cy="2263"/>
          </a:xfrm>
          <a:solidFill>
            <a:schemeClr val="bg1">
              <a:lumMod val="95000"/>
            </a:schemeClr>
          </a:solidFill>
        </p:grpSpPr>
        <p:sp>
          <p:nvSpPr>
            <p:cNvPr id="7" name="Text Box 11"/>
            <p:cNvSpPr txBox="1">
              <a:spLocks noChangeArrowheads="1"/>
            </p:cNvSpPr>
            <p:nvPr/>
          </p:nvSpPr>
          <p:spPr bwMode="auto">
            <a:xfrm>
              <a:off x="765" y="1541"/>
              <a:ext cx="1847" cy="7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180975" indent="-180975">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defRPr/>
              </a:pPr>
              <a:r>
                <a:rPr lang="de-DE" altLang="de-DE" sz="1800" b="1" dirty="0">
                  <a:latin typeface="+mn-lt"/>
                  <a:ea typeface="Arial" charset="0"/>
                  <a:cs typeface="Arial" charset="0"/>
                </a:rPr>
                <a:t>organisatorisch</a:t>
              </a:r>
            </a:p>
            <a:p>
              <a:pPr>
                <a:buFontTx/>
                <a:buChar char="•"/>
                <a:defRPr/>
              </a:pPr>
              <a:r>
                <a:rPr lang="de-DE" altLang="de-DE" sz="1800" dirty="0">
                  <a:latin typeface="+mn-lt"/>
                  <a:ea typeface="Arial" charset="0"/>
                  <a:cs typeface="Arial" charset="0"/>
                </a:rPr>
                <a:t>Informationswidersprüche</a:t>
              </a:r>
            </a:p>
            <a:p>
              <a:pPr>
                <a:buFontTx/>
                <a:buChar char="•"/>
                <a:defRPr/>
              </a:pPr>
              <a:r>
                <a:rPr lang="de-DE" altLang="de-DE" sz="1800" dirty="0">
                  <a:latin typeface="+mn-lt"/>
                  <a:ea typeface="Arial" charset="0"/>
                  <a:cs typeface="Arial" charset="0"/>
                </a:rPr>
                <a:t>Aufgabendiffusion</a:t>
              </a:r>
            </a:p>
            <a:p>
              <a:pPr>
                <a:buFontTx/>
                <a:buChar char="•"/>
                <a:defRPr/>
              </a:pPr>
              <a:r>
                <a:rPr lang="de-DE" altLang="de-DE" sz="1800" dirty="0">
                  <a:latin typeface="+mn-lt"/>
                  <a:ea typeface="Arial" charset="0"/>
                  <a:cs typeface="Arial" charset="0"/>
                </a:rPr>
                <a:t>Rollenkonflikte</a:t>
              </a:r>
            </a:p>
          </p:txBody>
        </p:sp>
        <p:sp>
          <p:nvSpPr>
            <p:cNvPr id="8" name="Text Box 14"/>
            <p:cNvSpPr txBox="1">
              <a:spLocks noChangeArrowheads="1"/>
            </p:cNvSpPr>
            <p:nvPr/>
          </p:nvSpPr>
          <p:spPr bwMode="auto">
            <a:xfrm>
              <a:off x="3644" y="2469"/>
              <a:ext cx="1694" cy="5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180975" indent="-180975">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defRPr/>
              </a:pPr>
              <a:r>
                <a:rPr lang="de-DE" altLang="de-DE" sz="1800" b="1" dirty="0">
                  <a:latin typeface="+mn-lt"/>
                  <a:ea typeface="Arial" charset="0"/>
                  <a:cs typeface="Arial" charset="0"/>
                </a:rPr>
                <a:t>physikalisch</a:t>
              </a:r>
            </a:p>
            <a:p>
              <a:pPr>
                <a:buFontTx/>
                <a:buChar char="•"/>
                <a:defRPr/>
              </a:pPr>
              <a:r>
                <a:rPr lang="de-DE" altLang="de-DE" sz="1800" dirty="0">
                  <a:latin typeface="+mn-lt"/>
                  <a:ea typeface="Arial" charset="0"/>
                  <a:cs typeface="Arial" charset="0"/>
                </a:rPr>
                <a:t>mangelnde Leuchtstärke</a:t>
              </a:r>
            </a:p>
            <a:p>
              <a:pPr>
                <a:buFontTx/>
                <a:buChar char="•"/>
                <a:defRPr/>
              </a:pPr>
              <a:r>
                <a:rPr lang="de-DE" altLang="de-DE" sz="1800" dirty="0">
                  <a:latin typeface="+mn-lt"/>
                  <a:ea typeface="Arial" charset="0"/>
                  <a:cs typeface="Arial" charset="0"/>
                </a:rPr>
                <a:t>Hitze, Kälte, Lärm</a:t>
              </a:r>
            </a:p>
            <a:p>
              <a:pPr>
                <a:buFontTx/>
                <a:buChar char="•"/>
                <a:defRPr/>
              </a:pPr>
              <a:r>
                <a:rPr lang="de-DE" altLang="de-DE" sz="1800" dirty="0">
                  <a:latin typeface="+mn-lt"/>
                  <a:ea typeface="Arial" charset="0"/>
                  <a:cs typeface="Arial" charset="0"/>
                </a:rPr>
                <a:t>Stäube, Dämpfe</a:t>
              </a:r>
            </a:p>
          </p:txBody>
        </p:sp>
        <p:sp>
          <p:nvSpPr>
            <p:cNvPr id="9" name="Text Box 17"/>
            <p:cNvSpPr txBox="1">
              <a:spLocks noChangeArrowheads="1"/>
            </p:cNvSpPr>
            <p:nvPr/>
          </p:nvSpPr>
          <p:spPr bwMode="auto">
            <a:xfrm>
              <a:off x="2251" y="3205"/>
              <a:ext cx="1702" cy="5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180975" indent="-180975">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defRPr/>
              </a:pPr>
              <a:r>
                <a:rPr lang="de-DE" altLang="de-DE" sz="1800" b="1" dirty="0">
                  <a:latin typeface="+mn-lt"/>
                  <a:ea typeface="Arial" charset="0"/>
                  <a:cs typeface="Arial" charset="0"/>
                </a:rPr>
                <a:t>sozial</a:t>
              </a:r>
            </a:p>
            <a:p>
              <a:pPr>
                <a:buFontTx/>
                <a:buChar char="•"/>
                <a:defRPr/>
              </a:pPr>
              <a:r>
                <a:rPr lang="de-DE" altLang="de-DE" sz="1800" dirty="0">
                  <a:latin typeface="+mn-lt"/>
                  <a:ea typeface="Arial" charset="0"/>
                  <a:cs typeface="Arial" charset="0"/>
                </a:rPr>
                <a:t>mangelnde Kontakte</a:t>
              </a:r>
            </a:p>
            <a:p>
              <a:pPr>
                <a:buFontTx/>
                <a:buChar char="•"/>
                <a:defRPr/>
              </a:pPr>
              <a:r>
                <a:rPr lang="de-DE" altLang="de-DE" sz="1800" dirty="0">
                  <a:latin typeface="+mn-lt"/>
                  <a:ea typeface="Arial" charset="0"/>
                  <a:cs typeface="Arial" charset="0"/>
                </a:rPr>
                <a:t>Führungsdefizite</a:t>
              </a:r>
            </a:p>
            <a:p>
              <a:pPr>
                <a:buFontTx/>
                <a:buChar char="•"/>
                <a:defRPr/>
              </a:pPr>
              <a:r>
                <a:rPr lang="de-DE" altLang="de-DE" sz="1800" dirty="0">
                  <a:latin typeface="+mn-lt"/>
                  <a:ea typeface="Arial" charset="0"/>
                  <a:cs typeface="Arial" charset="0"/>
                </a:rPr>
                <a:t>Mobbing, </a:t>
              </a:r>
              <a:r>
                <a:rPr lang="de-DE" altLang="de-DE" sz="1800" dirty="0" err="1">
                  <a:latin typeface="+mn-lt"/>
                  <a:ea typeface="Arial" charset="0"/>
                  <a:cs typeface="Arial" charset="0"/>
                </a:rPr>
                <a:t>Bossing</a:t>
              </a:r>
              <a:endParaRPr lang="de-DE" altLang="de-DE" sz="1800" dirty="0">
                <a:latin typeface="+mn-lt"/>
                <a:ea typeface="Arial" charset="0"/>
                <a:cs typeface="Arial" charset="0"/>
              </a:endParaRPr>
            </a:p>
          </p:txBody>
        </p:sp>
        <p:sp>
          <p:nvSpPr>
            <p:cNvPr id="10" name="Text Box 20"/>
            <p:cNvSpPr txBox="1">
              <a:spLocks noChangeArrowheads="1"/>
            </p:cNvSpPr>
            <p:nvPr/>
          </p:nvSpPr>
          <p:spPr bwMode="auto">
            <a:xfrm>
              <a:off x="656" y="2473"/>
              <a:ext cx="1359" cy="7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180975" indent="-180975">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defRPr/>
              </a:pPr>
              <a:r>
                <a:rPr lang="de-DE" altLang="de-DE" sz="1800" b="1" dirty="0">
                  <a:latin typeface="+mn-lt"/>
                  <a:ea typeface="Arial" charset="0"/>
                  <a:cs typeface="Arial" charset="0"/>
                </a:rPr>
                <a:t>zeitlich</a:t>
              </a:r>
            </a:p>
            <a:p>
              <a:pPr>
                <a:buFontTx/>
                <a:buChar char="•"/>
                <a:defRPr/>
              </a:pPr>
              <a:r>
                <a:rPr lang="de-DE" altLang="de-DE" sz="1800" dirty="0">
                  <a:latin typeface="+mn-lt"/>
                  <a:ea typeface="Arial" charset="0"/>
                  <a:cs typeface="Arial" charset="0"/>
                </a:rPr>
                <a:t>Schichtarbeit</a:t>
              </a:r>
            </a:p>
            <a:p>
              <a:pPr>
                <a:buFontTx/>
                <a:buChar char="•"/>
                <a:defRPr/>
              </a:pPr>
              <a:r>
                <a:rPr lang="de-DE" altLang="de-DE" sz="1800" dirty="0">
                  <a:latin typeface="+mn-lt"/>
                  <a:ea typeface="Arial" charset="0"/>
                  <a:cs typeface="Arial" charset="0"/>
                </a:rPr>
                <a:t>unregelmäßige Arbeitszeiten</a:t>
              </a:r>
            </a:p>
            <a:p>
              <a:pPr>
                <a:buFontTx/>
                <a:buChar char="•"/>
                <a:defRPr/>
              </a:pPr>
              <a:r>
                <a:rPr lang="de-DE" altLang="de-DE" sz="1800" dirty="0">
                  <a:latin typeface="+mn-lt"/>
                  <a:ea typeface="Arial" charset="0"/>
                  <a:cs typeface="Arial" charset="0"/>
                </a:rPr>
                <a:t>Zeitdruck</a:t>
              </a:r>
            </a:p>
          </p:txBody>
        </p:sp>
        <p:sp>
          <p:nvSpPr>
            <p:cNvPr id="11" name="Text Box 23"/>
            <p:cNvSpPr txBox="1">
              <a:spLocks noChangeArrowheads="1"/>
            </p:cNvSpPr>
            <p:nvPr/>
          </p:nvSpPr>
          <p:spPr bwMode="auto">
            <a:xfrm>
              <a:off x="3332" y="1535"/>
              <a:ext cx="1767" cy="7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180975" indent="-180975">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defRPr/>
              </a:pPr>
              <a:r>
                <a:rPr lang="de-DE" altLang="de-DE" sz="1800" b="1" dirty="0">
                  <a:latin typeface="+mn-lt"/>
                  <a:ea typeface="Arial" charset="0"/>
                  <a:cs typeface="Arial" charset="0"/>
                </a:rPr>
                <a:t>tätigkeitsbezogen</a:t>
              </a:r>
            </a:p>
            <a:p>
              <a:pPr>
                <a:buFontTx/>
                <a:buChar char="•"/>
                <a:defRPr/>
              </a:pPr>
              <a:r>
                <a:rPr lang="de-DE" altLang="de-DE" sz="1800" dirty="0">
                  <a:latin typeface="+mn-lt"/>
                  <a:ea typeface="Arial" charset="0"/>
                  <a:cs typeface="Arial" charset="0"/>
                </a:rPr>
                <a:t>schweres Heben und Tragen</a:t>
              </a:r>
            </a:p>
            <a:p>
              <a:pPr>
                <a:buFontTx/>
                <a:buChar char="•"/>
                <a:defRPr/>
              </a:pPr>
              <a:r>
                <a:rPr lang="de-DE" altLang="de-DE" sz="1800" dirty="0">
                  <a:latin typeface="+mn-lt"/>
                  <a:ea typeface="Arial" charset="0"/>
                  <a:cs typeface="Arial" charset="0"/>
                </a:rPr>
                <a:t>Unter- und Überforderung</a:t>
              </a:r>
            </a:p>
            <a:p>
              <a:pPr>
                <a:buFontTx/>
                <a:buChar char="•"/>
                <a:defRPr/>
              </a:pPr>
              <a:r>
                <a:rPr lang="de-DE" altLang="de-DE" sz="1800" dirty="0">
                  <a:latin typeface="+mn-lt"/>
                  <a:ea typeface="Arial" charset="0"/>
                  <a:cs typeface="Arial" charset="0"/>
                </a:rPr>
                <a:t>Unterbrechungen</a:t>
              </a:r>
            </a:p>
          </p:txBody>
        </p:sp>
        <p:sp>
          <p:nvSpPr>
            <p:cNvPr id="12" name="Oval 24"/>
            <p:cNvSpPr>
              <a:spLocks noChangeArrowheads="1"/>
            </p:cNvSpPr>
            <p:nvPr/>
          </p:nvSpPr>
          <p:spPr bwMode="auto">
            <a:xfrm>
              <a:off x="2268" y="2250"/>
              <a:ext cx="1218" cy="813"/>
            </a:xfrm>
            <a:prstGeom prst="ellipse">
              <a:avLst/>
            </a:prstGeom>
            <a:grp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72000" tIns="0" rIns="0" bIns="0" anchor="ctr"/>
            <a:lstStyle/>
            <a:p>
              <a:pPr>
                <a:defRPr/>
              </a:pPr>
              <a:endParaRPr lang="de-DE">
                <a:solidFill>
                  <a:srgbClr val="FF0000"/>
                </a:solidFill>
                <a:ea typeface="Arial" charset="0"/>
                <a:cs typeface="Arial" charset="0"/>
              </a:endParaRPr>
            </a:p>
          </p:txBody>
        </p:sp>
        <p:sp>
          <p:nvSpPr>
            <p:cNvPr id="13" name="Text Box 5"/>
            <p:cNvSpPr txBox="1">
              <a:spLocks noChangeArrowheads="1"/>
            </p:cNvSpPr>
            <p:nvPr/>
          </p:nvSpPr>
          <p:spPr bwMode="auto">
            <a:xfrm>
              <a:off x="2317" y="2505"/>
              <a:ext cx="1120"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sz="2400">
                  <a:solidFill>
                    <a:schemeClr val="tx1"/>
                  </a:solidFill>
                  <a:latin typeface="Arial" charset="0"/>
                  <a:ea typeface="ＭＳ Ｐゴシック" charset="-128"/>
                </a:defRPr>
              </a:lvl1pPr>
              <a:lvl2pPr marL="742950" indent="-285750">
                <a:spcBef>
                  <a:spcPct val="0"/>
                </a:spcBef>
                <a:defRPr sz="2400">
                  <a:solidFill>
                    <a:schemeClr val="tx1"/>
                  </a:solidFill>
                  <a:latin typeface="Arial" charset="0"/>
                  <a:ea typeface="ＭＳ Ｐゴシック" charset="-128"/>
                </a:defRPr>
              </a:lvl2pPr>
              <a:lvl3pPr marL="1143000" indent="-228600">
                <a:spcBef>
                  <a:spcPct val="0"/>
                </a:spcBef>
                <a:defRPr sz="2400">
                  <a:solidFill>
                    <a:schemeClr val="tx1"/>
                  </a:solidFill>
                  <a:latin typeface="Arial" charset="0"/>
                  <a:ea typeface="ＭＳ Ｐゴシック" charset="-128"/>
                </a:defRPr>
              </a:lvl3pPr>
              <a:lvl4pPr marL="1600200" indent="-228600">
                <a:spcBef>
                  <a:spcPct val="0"/>
                </a:spcBef>
                <a:defRPr sz="2400">
                  <a:solidFill>
                    <a:schemeClr val="tx1"/>
                  </a:solidFill>
                  <a:latin typeface="Arial" charset="0"/>
                  <a:ea typeface="ＭＳ Ｐゴシック" charset="-128"/>
                </a:defRPr>
              </a:lvl4pPr>
              <a:lvl5pPr marL="2057400" indent="-228600">
                <a:spcBef>
                  <a:spcPct val="0"/>
                </a:spcBef>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ctr">
                <a:spcBef>
                  <a:spcPct val="50000"/>
                </a:spcBef>
                <a:defRPr/>
              </a:pPr>
              <a:r>
                <a:rPr lang="de-DE" altLang="de-DE" sz="1800" b="1" dirty="0">
                  <a:solidFill>
                    <a:srgbClr val="FF0000"/>
                  </a:solidFill>
                  <a:latin typeface="+mn-lt"/>
                  <a:ea typeface="Arial" charset="0"/>
                  <a:cs typeface="Arial" charset="0"/>
                </a:rPr>
                <a:t>Arbeitsbedingter Stress</a:t>
              </a:r>
            </a:p>
          </p:txBody>
        </p:sp>
      </p:grpSp>
    </p:spTree>
    <p:extLst>
      <p:ext uri="{BB962C8B-B14F-4D97-AF65-F5344CB8AC3E}">
        <p14:creationId xmlns:p14="http://schemas.microsoft.com/office/powerpoint/2010/main" val="1460654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a:spLocks noChangeArrowheads="1"/>
          </p:cNvSpPr>
          <p:nvPr/>
        </p:nvSpPr>
        <p:spPr bwMode="auto">
          <a:xfrm>
            <a:off x="4943475" y="1158875"/>
            <a:ext cx="1944688" cy="2660650"/>
          </a:xfrm>
          <a:prstGeom prst="rect">
            <a:avLst/>
          </a:prstGeom>
          <a:solidFill>
            <a:srgbClr val="00B050"/>
          </a:solidFill>
          <a:ln w="9525">
            <a:solidFill>
              <a:srgbClr val="F9F9F9"/>
            </a:solidFill>
            <a:miter lim="800000"/>
            <a:headEnd/>
            <a:tailEnd/>
          </a:ln>
          <a:effectLst>
            <a:outerShdw blurRad="63500" dist="23000" dir="5400000" rotWithShape="0">
              <a:srgbClr val="000000">
                <a:alpha val="34999"/>
              </a:srgbClr>
            </a:outerShdw>
          </a:effectLst>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endParaRPr lang="de-DE" altLang="de-DE" sz="1400" dirty="0">
              <a:solidFill>
                <a:srgbClr val="FFFFFF"/>
              </a:solidFill>
              <a:latin typeface="+mn-lt"/>
            </a:endParaRPr>
          </a:p>
          <a:p>
            <a:pPr algn="ctr">
              <a:spcBef>
                <a:spcPct val="50000"/>
              </a:spcBef>
              <a:defRPr/>
            </a:pPr>
            <a:endParaRPr lang="de-DE" altLang="de-DE" sz="1400" b="1" dirty="0">
              <a:solidFill>
                <a:srgbClr val="FFFFFF"/>
              </a:solidFill>
              <a:latin typeface="+mn-lt"/>
            </a:endParaRPr>
          </a:p>
          <a:p>
            <a:pPr algn="ctr">
              <a:spcBef>
                <a:spcPct val="50000"/>
              </a:spcBef>
              <a:defRPr/>
            </a:pPr>
            <a:endParaRPr lang="de-DE" altLang="de-DE" sz="1400" b="1" dirty="0">
              <a:solidFill>
                <a:srgbClr val="FFFFFF"/>
              </a:solidFill>
              <a:latin typeface="+mn-lt"/>
            </a:endParaRPr>
          </a:p>
          <a:p>
            <a:pPr algn="ctr">
              <a:spcBef>
                <a:spcPct val="50000"/>
              </a:spcBef>
              <a:defRPr/>
            </a:pPr>
            <a:r>
              <a:rPr lang="de-DE" altLang="de-DE" sz="1400" b="1" dirty="0">
                <a:solidFill>
                  <a:srgbClr val="FFFFFF"/>
                </a:solidFill>
                <a:latin typeface="+mn-lt"/>
              </a:rPr>
              <a:t>Psychische</a:t>
            </a:r>
            <a:br>
              <a:rPr lang="de-DE" altLang="de-DE" sz="1400" b="1" dirty="0">
                <a:solidFill>
                  <a:srgbClr val="FFFFFF"/>
                </a:solidFill>
                <a:latin typeface="+mn-lt"/>
              </a:rPr>
            </a:br>
            <a:r>
              <a:rPr lang="de-DE" altLang="de-DE" sz="1400" b="1" dirty="0">
                <a:solidFill>
                  <a:srgbClr val="FFFFFF"/>
                </a:solidFill>
                <a:latin typeface="+mn-lt"/>
              </a:rPr>
              <a:t>Gesundheit </a:t>
            </a:r>
          </a:p>
        </p:txBody>
      </p:sp>
      <p:sp>
        <p:nvSpPr>
          <p:cNvPr id="27652" name="Titel 4"/>
          <p:cNvSpPr>
            <a:spLocks noGrp="1"/>
          </p:cNvSpPr>
          <p:nvPr>
            <p:ph type="title"/>
          </p:nvPr>
        </p:nvSpPr>
        <p:spPr/>
        <p:txBody>
          <a:bodyPr/>
          <a:lstStyle/>
          <a:p>
            <a:r>
              <a:rPr lang="de-DE" altLang="de-DE" dirty="0"/>
              <a:t>Faktoren für Stress-Symptome am Arbeitsplatz </a:t>
            </a:r>
          </a:p>
        </p:txBody>
      </p:sp>
      <p:sp>
        <p:nvSpPr>
          <p:cNvPr id="6" name="Rechteck 5"/>
          <p:cNvSpPr>
            <a:spLocks noChangeArrowheads="1"/>
          </p:cNvSpPr>
          <p:nvPr/>
        </p:nvSpPr>
        <p:spPr bwMode="auto">
          <a:xfrm>
            <a:off x="4943475" y="3613151"/>
            <a:ext cx="1944688" cy="2600325"/>
          </a:xfrm>
          <a:prstGeom prst="rect">
            <a:avLst/>
          </a:prstGeom>
          <a:solidFill>
            <a:srgbClr val="C00000"/>
          </a:solidFill>
          <a:ln>
            <a:noFill/>
          </a:ln>
          <a:effectLst>
            <a:outerShdw blurRad="63500" dist="23000" dir="5400000" rotWithShape="0">
              <a:srgbClr val="000000">
                <a:alpha val="34999"/>
              </a:srgbClr>
            </a:outerShdw>
          </a:effectLst>
          <a:extLst>
            <a:ext uri="{91240B29-F687-4F45-9708-019B960494DF}">
              <a14:hiddenLine xmlns:a14="http://schemas.microsoft.com/office/drawing/2010/main" w="9525">
                <a:solidFill>
                  <a:srgbClr val="6EA2CD"/>
                </a:solidFill>
                <a:miter lim="800000"/>
                <a:headEnd/>
                <a:tailEnd/>
              </a14:hiddenLine>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ct val="50000"/>
              </a:spcBef>
              <a:defRPr/>
            </a:pPr>
            <a:r>
              <a:rPr lang="de-DE" altLang="de-DE" sz="1400" b="1" dirty="0">
                <a:solidFill>
                  <a:srgbClr val="FFFFFF"/>
                </a:solidFill>
                <a:latin typeface="+mn-lt"/>
              </a:rPr>
              <a:t>Stress-Symptome</a:t>
            </a:r>
          </a:p>
          <a:p>
            <a:pPr algn="ctr">
              <a:spcBef>
                <a:spcPct val="50000"/>
              </a:spcBef>
              <a:defRPr/>
            </a:pPr>
            <a:r>
              <a:rPr lang="de-DE" altLang="de-DE" sz="1400" dirty="0">
                <a:solidFill>
                  <a:srgbClr val="FFFFFF"/>
                </a:solidFill>
                <a:latin typeface="+mn-lt"/>
              </a:rPr>
              <a:t>allgemeines psychisches Unwohlsein</a:t>
            </a:r>
          </a:p>
          <a:p>
            <a:pPr algn="ctr">
              <a:spcBef>
                <a:spcPct val="50000"/>
              </a:spcBef>
              <a:defRPr/>
            </a:pPr>
            <a:r>
              <a:rPr lang="de-DE" altLang="de-DE" sz="1400" dirty="0">
                <a:solidFill>
                  <a:srgbClr val="FFFFFF"/>
                </a:solidFill>
                <a:latin typeface="+mn-lt"/>
              </a:rPr>
              <a:t>Angststörung</a:t>
            </a:r>
          </a:p>
          <a:p>
            <a:pPr algn="ctr">
              <a:spcBef>
                <a:spcPct val="50000"/>
              </a:spcBef>
              <a:defRPr/>
            </a:pPr>
            <a:r>
              <a:rPr lang="de-DE" altLang="de-DE" sz="1400" dirty="0">
                <a:solidFill>
                  <a:srgbClr val="FFFFFF"/>
                </a:solidFill>
                <a:latin typeface="+mn-lt"/>
              </a:rPr>
              <a:t>Depression</a:t>
            </a:r>
          </a:p>
          <a:p>
            <a:pPr algn="ctr">
              <a:spcBef>
                <a:spcPct val="50000"/>
              </a:spcBef>
              <a:defRPr/>
            </a:pPr>
            <a:r>
              <a:rPr lang="de-DE" altLang="de-DE" sz="1400" dirty="0">
                <a:solidFill>
                  <a:srgbClr val="FFFFFF"/>
                </a:solidFill>
                <a:latin typeface="+mn-lt"/>
              </a:rPr>
              <a:t>Burnout</a:t>
            </a:r>
          </a:p>
          <a:p>
            <a:pPr algn="ctr">
              <a:spcBef>
                <a:spcPct val="50000"/>
              </a:spcBef>
              <a:defRPr/>
            </a:pPr>
            <a:r>
              <a:rPr lang="de-DE" altLang="de-DE" sz="1400" dirty="0">
                <a:solidFill>
                  <a:srgbClr val="FFFFFF"/>
                </a:solidFill>
                <a:latin typeface="+mn-lt"/>
              </a:rPr>
              <a:t>Sucht / Missbrauch</a:t>
            </a:r>
          </a:p>
          <a:p>
            <a:pPr algn="ctr">
              <a:spcBef>
                <a:spcPct val="50000"/>
              </a:spcBef>
              <a:defRPr/>
            </a:pPr>
            <a:endParaRPr lang="de-DE" altLang="de-DE" sz="1400" dirty="0">
              <a:solidFill>
                <a:srgbClr val="FFFFFF"/>
              </a:solidFill>
              <a:latin typeface="+mn-lt"/>
            </a:endParaRPr>
          </a:p>
        </p:txBody>
      </p:sp>
      <p:sp>
        <p:nvSpPr>
          <p:cNvPr id="7" name="Minus 6"/>
          <p:cNvSpPr/>
          <p:nvPr/>
        </p:nvSpPr>
        <p:spPr>
          <a:xfrm>
            <a:off x="5549900" y="5900738"/>
            <a:ext cx="660400" cy="239712"/>
          </a:xfrm>
          <a:prstGeom prst="mathMin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defRPr/>
            </a:pPr>
            <a:endParaRPr lang="de-DE" sz="1400">
              <a:solidFill>
                <a:schemeClr val="tx1"/>
              </a:solidFill>
            </a:endParaRPr>
          </a:p>
        </p:txBody>
      </p:sp>
      <p:sp>
        <p:nvSpPr>
          <p:cNvPr id="8" name="Textfeld 7"/>
          <p:cNvSpPr txBox="1"/>
          <p:nvPr/>
        </p:nvSpPr>
        <p:spPr>
          <a:xfrm>
            <a:off x="1992313" y="2420938"/>
            <a:ext cx="2589212" cy="3479800"/>
          </a:xfrm>
          <a:prstGeom prst="rect">
            <a:avLst/>
          </a:prstGeom>
          <a:solidFill>
            <a:schemeClr val="bg1">
              <a:lumMod val="95000"/>
            </a:schemeClr>
          </a:solidFill>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285750" indent="-285750">
              <a:spcBef>
                <a:spcPts val="600"/>
              </a:spcBef>
              <a:buFont typeface="Arial" charset="0"/>
              <a:buChar char="•"/>
              <a:defRPr/>
            </a:pPr>
            <a:r>
              <a:rPr lang="de-DE" altLang="de-DE" sz="1400" dirty="0">
                <a:latin typeface="+mn-lt"/>
              </a:rPr>
              <a:t>geringer Handlungsspielraum</a:t>
            </a:r>
          </a:p>
          <a:p>
            <a:pPr marL="285750" indent="-285750">
              <a:spcBef>
                <a:spcPts val="600"/>
              </a:spcBef>
              <a:buFont typeface="Arial" charset="0"/>
              <a:buChar char="•"/>
              <a:defRPr/>
            </a:pPr>
            <a:r>
              <a:rPr lang="de-DE" altLang="de-DE" sz="1400" dirty="0">
                <a:latin typeface="+mn-lt"/>
              </a:rPr>
              <a:t>negatives Betriebsklima</a:t>
            </a:r>
          </a:p>
          <a:p>
            <a:pPr marL="285750" indent="-285750">
              <a:spcBef>
                <a:spcPts val="600"/>
              </a:spcBef>
              <a:buFont typeface="Arial" charset="0"/>
              <a:buChar char="•"/>
              <a:defRPr/>
            </a:pPr>
            <a:r>
              <a:rPr lang="de-DE" altLang="de-DE" sz="1400" dirty="0">
                <a:latin typeface="+mn-lt"/>
              </a:rPr>
              <a:t>geringe soziale Unterstützung durch Vorgesetzte</a:t>
            </a:r>
          </a:p>
          <a:p>
            <a:pPr marL="285750" indent="-285750">
              <a:spcBef>
                <a:spcPts val="600"/>
              </a:spcBef>
              <a:buFont typeface="Arial" charset="0"/>
              <a:buChar char="•"/>
              <a:defRPr/>
            </a:pPr>
            <a:r>
              <a:rPr lang="de-DE" altLang="de-DE" sz="1400" dirty="0">
                <a:latin typeface="+mn-lt"/>
              </a:rPr>
              <a:t>geringe Arbeits-zufriedenheit</a:t>
            </a:r>
          </a:p>
          <a:p>
            <a:pPr marL="285750" indent="-285750">
              <a:spcBef>
                <a:spcPts val="600"/>
              </a:spcBef>
              <a:buFont typeface="Arial" charset="0"/>
              <a:buChar char="•"/>
              <a:defRPr/>
            </a:pPr>
            <a:r>
              <a:rPr lang="de-DE" altLang="de-DE" sz="1400" dirty="0">
                <a:latin typeface="+mn-lt"/>
              </a:rPr>
              <a:t>Unterbrechungen, Störungen während der Arbeit</a:t>
            </a:r>
          </a:p>
          <a:p>
            <a:pPr marL="285750" indent="-285750">
              <a:spcBef>
                <a:spcPts val="600"/>
              </a:spcBef>
              <a:buFont typeface="Arial" charset="0"/>
              <a:buChar char="•"/>
              <a:defRPr/>
            </a:pPr>
            <a:r>
              <a:rPr lang="de-DE" altLang="de-DE" sz="1400" dirty="0">
                <a:latin typeface="+mn-lt"/>
              </a:rPr>
              <a:t>Konflikte/Mobbing </a:t>
            </a:r>
          </a:p>
        </p:txBody>
      </p:sp>
      <p:sp>
        <p:nvSpPr>
          <p:cNvPr id="9" name="Textfeld 8"/>
          <p:cNvSpPr txBox="1"/>
          <p:nvPr/>
        </p:nvSpPr>
        <p:spPr>
          <a:xfrm>
            <a:off x="7250114" y="2420938"/>
            <a:ext cx="2744787" cy="3479800"/>
          </a:xfrm>
          <a:prstGeom prst="rect">
            <a:avLst/>
          </a:prstGeom>
          <a:solidFill>
            <a:schemeClr val="bg1">
              <a:lumMod val="95000"/>
            </a:schemeClr>
          </a:solidFill>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285750" indent="-285750">
              <a:spcBef>
                <a:spcPts val="600"/>
              </a:spcBef>
              <a:buFont typeface="Arial" charset="0"/>
              <a:buChar char="•"/>
              <a:defRPr/>
            </a:pPr>
            <a:r>
              <a:rPr lang="de-DE" altLang="de-DE" sz="1400" dirty="0">
                <a:latin typeface="+mn-lt"/>
              </a:rPr>
              <a:t>hohe Anforderungen bei geringem Handlungsspielraum</a:t>
            </a:r>
          </a:p>
          <a:p>
            <a:pPr marL="285750" indent="-285750">
              <a:spcBef>
                <a:spcPts val="600"/>
              </a:spcBef>
              <a:buFont typeface="Arial" charset="0"/>
              <a:buChar char="•"/>
              <a:defRPr/>
            </a:pPr>
            <a:r>
              <a:rPr lang="de-DE" altLang="de-DE" sz="1400" dirty="0">
                <a:latin typeface="+mn-lt"/>
              </a:rPr>
              <a:t>Zeitdruck</a:t>
            </a:r>
          </a:p>
          <a:p>
            <a:pPr marL="285750" indent="-285750">
              <a:spcBef>
                <a:spcPts val="600"/>
              </a:spcBef>
              <a:buFont typeface="Arial" charset="0"/>
              <a:buChar char="•"/>
              <a:defRPr/>
            </a:pPr>
            <a:r>
              <a:rPr lang="de-DE" altLang="de-DE" sz="1400" dirty="0">
                <a:latin typeface="+mn-lt"/>
              </a:rPr>
              <a:t>hohes Arbeitspensum</a:t>
            </a:r>
          </a:p>
          <a:p>
            <a:pPr marL="285750" indent="-285750">
              <a:spcBef>
                <a:spcPts val="600"/>
              </a:spcBef>
              <a:buFont typeface="Arial" charset="0"/>
              <a:buChar char="•"/>
              <a:defRPr/>
            </a:pPr>
            <a:r>
              <a:rPr lang="de-DE" altLang="de-DE" sz="1400" dirty="0">
                <a:latin typeface="+mn-lt"/>
              </a:rPr>
              <a:t>prekäres Einkommen</a:t>
            </a:r>
          </a:p>
          <a:p>
            <a:pPr marL="285750" indent="-285750">
              <a:spcBef>
                <a:spcPts val="600"/>
              </a:spcBef>
              <a:buFont typeface="Arial" charset="0"/>
              <a:buChar char="•"/>
              <a:defRPr/>
            </a:pPr>
            <a:r>
              <a:rPr lang="de-DE" altLang="de-DE" sz="1400" dirty="0">
                <a:latin typeface="+mn-lt"/>
              </a:rPr>
              <a:t>Missverhältnis zwischen Verausgabung und Belohnung</a:t>
            </a:r>
          </a:p>
          <a:p>
            <a:pPr marL="285750" indent="-285750">
              <a:spcBef>
                <a:spcPts val="600"/>
              </a:spcBef>
              <a:buFont typeface="Arial" charset="0"/>
              <a:buChar char="•"/>
              <a:defRPr/>
            </a:pPr>
            <a:r>
              <a:rPr lang="de-DE" altLang="de-DE" sz="1400" dirty="0">
                <a:latin typeface="+mn-lt"/>
              </a:rPr>
              <a:t>fehlende Wertschätzung </a:t>
            </a:r>
          </a:p>
          <a:p>
            <a:pPr marL="285750" indent="-285750">
              <a:spcBef>
                <a:spcPts val="600"/>
              </a:spcBef>
              <a:buFont typeface="Arial" charset="0"/>
              <a:buChar char="•"/>
              <a:defRPr/>
            </a:pPr>
            <a:r>
              <a:rPr lang="de-DE" altLang="de-DE" sz="1400" dirty="0">
                <a:latin typeface="+mn-lt"/>
              </a:rPr>
              <a:t>Schichtarbeit</a:t>
            </a:r>
          </a:p>
          <a:p>
            <a:pPr marL="285750" indent="-285750">
              <a:spcBef>
                <a:spcPts val="600"/>
              </a:spcBef>
              <a:buFont typeface="Arial" charset="0"/>
              <a:buChar char="•"/>
              <a:defRPr/>
            </a:pPr>
            <a:r>
              <a:rPr lang="de-DE" altLang="de-DE" sz="1400" dirty="0">
                <a:latin typeface="+mn-lt"/>
              </a:rPr>
              <a:t>mangelnde Gerechtigkeit in der Organisation</a:t>
            </a:r>
          </a:p>
          <a:p>
            <a:pPr marL="285750" indent="-285750">
              <a:spcBef>
                <a:spcPts val="600"/>
              </a:spcBef>
              <a:buFont typeface="Arial" charset="0"/>
              <a:buChar char="•"/>
              <a:defRPr/>
            </a:pPr>
            <a:r>
              <a:rPr lang="de-DE" altLang="de-DE" sz="1400" dirty="0">
                <a:latin typeface="+mn-lt"/>
              </a:rPr>
              <a:t>Überstunden</a:t>
            </a:r>
          </a:p>
        </p:txBody>
      </p:sp>
      <p:sp>
        <p:nvSpPr>
          <p:cNvPr id="10" name="Line 17"/>
          <p:cNvSpPr>
            <a:spLocks noChangeShapeType="1"/>
          </p:cNvSpPr>
          <p:nvPr/>
        </p:nvSpPr>
        <p:spPr bwMode="auto">
          <a:xfrm>
            <a:off x="4624389" y="4862514"/>
            <a:ext cx="319087" cy="9525"/>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1" name="Line 18"/>
          <p:cNvSpPr>
            <a:spLocks noChangeShapeType="1"/>
          </p:cNvSpPr>
          <p:nvPr/>
        </p:nvSpPr>
        <p:spPr bwMode="auto">
          <a:xfrm>
            <a:off x="4624389" y="3992564"/>
            <a:ext cx="319087" cy="9525"/>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2" name="Line 19"/>
          <p:cNvSpPr>
            <a:spLocks noChangeShapeType="1"/>
          </p:cNvSpPr>
          <p:nvPr/>
        </p:nvSpPr>
        <p:spPr bwMode="auto">
          <a:xfrm>
            <a:off x="4624389" y="5722939"/>
            <a:ext cx="319087" cy="9525"/>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3" name="Line 21"/>
          <p:cNvSpPr>
            <a:spLocks noChangeShapeType="1"/>
          </p:cNvSpPr>
          <p:nvPr/>
        </p:nvSpPr>
        <p:spPr bwMode="auto">
          <a:xfrm flipH="1" flipV="1">
            <a:off x="6888164" y="4002088"/>
            <a:ext cx="339725" cy="0"/>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4" name="Line 22"/>
          <p:cNvSpPr>
            <a:spLocks noChangeShapeType="1"/>
          </p:cNvSpPr>
          <p:nvPr/>
        </p:nvSpPr>
        <p:spPr bwMode="auto">
          <a:xfrm flipH="1" flipV="1">
            <a:off x="6888164" y="5722938"/>
            <a:ext cx="339725" cy="0"/>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5" name="Line 23"/>
          <p:cNvSpPr>
            <a:spLocks noChangeShapeType="1"/>
          </p:cNvSpPr>
          <p:nvPr/>
        </p:nvSpPr>
        <p:spPr bwMode="auto">
          <a:xfrm flipH="1" flipV="1">
            <a:off x="6888164" y="4846638"/>
            <a:ext cx="339725" cy="0"/>
          </a:xfrm>
          <a:prstGeom prst="line">
            <a:avLst/>
          </a:prstGeom>
          <a:noFill/>
          <a:ln w="31750">
            <a:solidFill>
              <a:schemeClr val="tx1"/>
            </a:solidFill>
            <a:round/>
            <a:headEnd/>
            <a:tailEnd type="arrow"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ajor"/>
        </p:style>
        <p:txBody>
          <a:bodyPr lIns="72000" tIns="0" rIns="0" bIns="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lang="de-DE" sz="1400">
              <a:latin typeface="+mn-lt"/>
            </a:endParaRPr>
          </a:p>
        </p:txBody>
      </p:sp>
      <p:sp>
        <p:nvSpPr>
          <p:cNvPr id="17" name="Plus 16"/>
          <p:cNvSpPr/>
          <p:nvPr/>
        </p:nvSpPr>
        <p:spPr>
          <a:xfrm>
            <a:off x="5549901" y="1220788"/>
            <a:ext cx="720725" cy="679450"/>
          </a:xfrm>
          <a:prstGeom prst="math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defRPr/>
            </a:pPr>
            <a:endParaRPr lang="de-DE" sz="1400"/>
          </a:p>
        </p:txBody>
      </p:sp>
    </p:spTree>
    <p:extLst>
      <p:ext uri="{BB962C8B-B14F-4D97-AF65-F5344CB8AC3E}">
        <p14:creationId xmlns:p14="http://schemas.microsoft.com/office/powerpoint/2010/main" val="6938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3">
            <a:extLst>
              <a:ext uri="{FF2B5EF4-FFF2-40B4-BE49-F238E27FC236}">
                <a16:creationId xmlns:a16="http://schemas.microsoft.com/office/drawing/2014/main" id="{F10E409C-2C87-4E15-B5B7-DBCF93FAF444}"/>
              </a:ext>
            </a:extLst>
          </p:cNvPr>
          <p:cNvSpPr>
            <a:spLocks noGrp="1"/>
          </p:cNvSpPr>
          <p:nvPr>
            <p:ph type="ftr" sz="quarter" idx="13"/>
          </p:nvPr>
        </p:nvSpPr>
        <p:spPr/>
        <p:txBody>
          <a:bodyPr/>
          <a:lstStyle/>
          <a:p>
            <a:r>
              <a:rPr lang="de-DE"/>
              <a:t>© 2018 - Unterweisung Plus</a:t>
            </a:r>
            <a:endParaRPr lang="de-DE" dirty="0"/>
          </a:p>
        </p:txBody>
      </p:sp>
      <p:sp>
        <p:nvSpPr>
          <p:cNvPr id="28675" name="Titel 4"/>
          <p:cNvSpPr>
            <a:spLocks noGrp="1"/>
          </p:cNvSpPr>
          <p:nvPr>
            <p:ph type="title"/>
          </p:nvPr>
        </p:nvSpPr>
        <p:spPr/>
        <p:txBody>
          <a:bodyPr/>
          <a:lstStyle/>
          <a:p>
            <a:r>
              <a:rPr lang="de-DE" altLang="de-DE"/>
              <a:t>Auswirkungen von Stress</a:t>
            </a:r>
          </a:p>
        </p:txBody>
      </p:sp>
      <p:graphicFrame>
        <p:nvGraphicFramePr>
          <p:cNvPr id="6" name="Group 52"/>
          <p:cNvGraphicFramePr>
            <a:graphicFrameLocks noGrp="1"/>
          </p:cNvGraphicFramePr>
          <p:nvPr>
            <p:extLst>
              <p:ext uri="{D42A27DB-BD31-4B8C-83A1-F6EECF244321}">
                <p14:modId xmlns:p14="http://schemas.microsoft.com/office/powerpoint/2010/main" val="3735029587"/>
              </p:ext>
            </p:extLst>
          </p:nvPr>
        </p:nvGraphicFramePr>
        <p:xfrm>
          <a:off x="2100264" y="1804988"/>
          <a:ext cx="7920037" cy="3911600"/>
        </p:xfrm>
        <a:graphic>
          <a:graphicData uri="http://schemas.openxmlformats.org/drawingml/2006/table">
            <a:tbl>
              <a:tblPr/>
              <a:tblGrid>
                <a:gridCol w="2606928">
                  <a:extLst>
                    <a:ext uri="{9D8B030D-6E8A-4147-A177-3AD203B41FA5}">
                      <a16:colId xmlns:a16="http://schemas.microsoft.com/office/drawing/2014/main" val="20000"/>
                    </a:ext>
                  </a:extLst>
                </a:gridCol>
                <a:gridCol w="2318934">
                  <a:extLst>
                    <a:ext uri="{9D8B030D-6E8A-4147-A177-3AD203B41FA5}">
                      <a16:colId xmlns:a16="http://schemas.microsoft.com/office/drawing/2014/main" val="20001"/>
                    </a:ext>
                  </a:extLst>
                </a:gridCol>
                <a:gridCol w="2994175">
                  <a:extLst>
                    <a:ext uri="{9D8B030D-6E8A-4147-A177-3AD203B41FA5}">
                      <a16:colId xmlns:a16="http://schemas.microsoft.com/office/drawing/2014/main" val="20002"/>
                    </a:ext>
                  </a:extLst>
                </a:gridCol>
              </a:tblGrid>
              <a:tr h="413569">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800" b="1" i="0" u="none" strike="noStrike" cap="none" normalizeH="0" baseline="0" dirty="0">
                          <a:ln>
                            <a:noFill/>
                          </a:ln>
                          <a:solidFill>
                            <a:srgbClr val="FFFFFF"/>
                          </a:solidFill>
                          <a:effectLst/>
                          <a:latin typeface="+mn-lt"/>
                          <a:ea typeface="ＭＳ Ｐゴシック" charset="-128"/>
                        </a:rPr>
                        <a:t>kurzfristig</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800" b="1" i="0" u="none" strike="noStrike" cap="none" normalizeH="0" baseline="0" dirty="0">
                          <a:ln>
                            <a:noFill/>
                          </a:ln>
                          <a:solidFill>
                            <a:srgbClr val="FFFFFF"/>
                          </a:solidFill>
                          <a:effectLst/>
                          <a:latin typeface="+mn-lt"/>
                          <a:ea typeface="ＭＳ Ｐゴシック" charset="-128"/>
                        </a:rPr>
                        <a:t>mittelfristig</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800" b="1" i="0" u="none" strike="noStrike" cap="none" normalizeH="0" baseline="0" dirty="0">
                          <a:ln>
                            <a:noFill/>
                          </a:ln>
                          <a:solidFill>
                            <a:srgbClr val="FFFFFF"/>
                          </a:solidFill>
                          <a:effectLst/>
                          <a:latin typeface="+mn-lt"/>
                          <a:ea typeface="ＭＳ Ｐゴシック" charset="-128"/>
                        </a:rPr>
                        <a:t>langfristig</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95347">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Ermüdung</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Angstzustände</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Leistungsschwankung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extLst>
                  <a:ext uri="{0D108BD9-81ED-4DB2-BD59-A6C34878D82A}">
                    <a16:rowId xmlns:a16="http://schemas.microsoft.com/office/drawing/2014/main" val="10001"/>
                  </a:ext>
                </a:extLst>
              </a:tr>
              <a:tr h="395347">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innere Anspannung</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Unzufriedenheit</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schlechtere Arbeitsqualität</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extLst>
                  <a:ext uri="{0D108BD9-81ED-4DB2-BD59-A6C34878D82A}">
                    <a16:rowId xmlns:a16="http://schemas.microsoft.com/office/drawing/2014/main" val="10002"/>
                  </a:ext>
                </a:extLst>
              </a:tr>
              <a:tr h="640107">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mangelnde Konzentratio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schlechteres Wohlbefind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falsche Entscheidung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extLst>
                  <a:ext uri="{0D108BD9-81ED-4DB2-BD59-A6C34878D82A}">
                    <a16:rowId xmlns:a16="http://schemas.microsoft.com/office/drawing/2014/main" val="10003"/>
                  </a:ext>
                </a:extLst>
              </a:tr>
              <a:tr h="640107">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Nervosität, Angst</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Resignatio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Verschlechterung der Koordinatio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extLst>
                  <a:ext uri="{0D108BD9-81ED-4DB2-BD59-A6C34878D82A}">
                    <a16:rowId xmlns:a16="http://schemas.microsoft.com/office/drawing/2014/main" val="10004"/>
                  </a:ext>
                </a:extLst>
              </a:tr>
              <a:tr h="393508">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Reizbarkeit</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Depressio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Rückzugsverhalt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extLst>
                  <a:ext uri="{0D108BD9-81ED-4DB2-BD59-A6C34878D82A}">
                    <a16:rowId xmlns:a16="http://schemas.microsoft.com/office/drawing/2014/main" val="10005"/>
                  </a:ext>
                </a:extLst>
              </a:tr>
              <a:tr h="393508">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Ärger, Wut</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Schlafstörung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Zunahme von Fehlzeit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6FA"/>
                    </a:solidFill>
                  </a:tcPr>
                </a:tc>
                <a:extLst>
                  <a:ext uri="{0D108BD9-81ED-4DB2-BD59-A6C34878D82A}">
                    <a16:rowId xmlns:a16="http://schemas.microsoft.com/office/drawing/2014/main" val="10006"/>
                  </a:ext>
                </a:extLst>
              </a:tr>
              <a:tr h="640107">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rgbClr val="333333"/>
                        </a:solidFill>
                        <a:effectLst/>
                        <a:latin typeface="+mn-lt"/>
                        <a:ea typeface="ＭＳ Ｐゴシック" charset="-128"/>
                      </a:endParaRP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a:ln>
                            <a:noFill/>
                          </a:ln>
                          <a:solidFill>
                            <a:srgbClr val="333333"/>
                          </a:solidFill>
                          <a:effectLst/>
                          <a:latin typeface="+mn-lt"/>
                          <a:ea typeface="ＭＳ Ｐゴシック" charset="-128"/>
                        </a:rPr>
                        <a:t>kritisches Gesundheitsverhalt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tc>
                  <a:txBody>
                    <a:bodyPr/>
                    <a:lstStyle>
                      <a:lvl1pPr>
                        <a:defRPr sz="1300">
                          <a:solidFill>
                            <a:schemeClr val="tx1"/>
                          </a:solidFill>
                          <a:latin typeface="Verdana" charset="0"/>
                        </a:defRPr>
                      </a:lvl1pPr>
                      <a:lvl2pPr marL="742950" indent="-285750">
                        <a:spcBef>
                          <a:spcPct val="25000"/>
                        </a:spcBef>
                        <a:buFont typeface="Arial" charset="0"/>
                        <a:defRPr sz="1300">
                          <a:solidFill>
                            <a:schemeClr val="tx1"/>
                          </a:solidFill>
                          <a:latin typeface="Verdana" charset="0"/>
                        </a:defRPr>
                      </a:lvl2pPr>
                      <a:lvl3pPr marL="1143000" indent="-228600">
                        <a:spcBef>
                          <a:spcPct val="25000"/>
                        </a:spcBef>
                        <a:defRPr sz="1200">
                          <a:solidFill>
                            <a:schemeClr val="tx1"/>
                          </a:solidFill>
                          <a:latin typeface="Verdana" charset="0"/>
                        </a:defRPr>
                      </a:lvl3pPr>
                      <a:lvl4pPr marL="1600200" indent="-228600">
                        <a:spcBef>
                          <a:spcPct val="25000"/>
                        </a:spcBef>
                        <a:defRPr sz="1200">
                          <a:solidFill>
                            <a:schemeClr val="tx1"/>
                          </a:solidFill>
                          <a:latin typeface="Verdana" charset="0"/>
                        </a:defRPr>
                      </a:lvl4pPr>
                      <a:lvl5pPr marL="2057400" indent="-228600">
                        <a:spcBef>
                          <a:spcPct val="25000"/>
                        </a:spcBef>
                        <a:defRPr sz="1000">
                          <a:solidFill>
                            <a:schemeClr val="tx1"/>
                          </a:solidFill>
                          <a:latin typeface="Verdana" charset="0"/>
                        </a:defRPr>
                      </a:lvl5pPr>
                      <a:lvl6pPr marL="2514600" indent="-228600" fontAlgn="base">
                        <a:spcBef>
                          <a:spcPct val="25000"/>
                        </a:spcBef>
                        <a:spcAft>
                          <a:spcPct val="0"/>
                        </a:spcAft>
                        <a:defRPr sz="1000">
                          <a:solidFill>
                            <a:schemeClr val="tx1"/>
                          </a:solidFill>
                          <a:latin typeface="Verdana" charset="0"/>
                        </a:defRPr>
                      </a:lvl6pPr>
                      <a:lvl7pPr marL="2971800" indent="-228600" fontAlgn="base">
                        <a:spcBef>
                          <a:spcPct val="25000"/>
                        </a:spcBef>
                        <a:spcAft>
                          <a:spcPct val="0"/>
                        </a:spcAft>
                        <a:defRPr sz="1000">
                          <a:solidFill>
                            <a:schemeClr val="tx1"/>
                          </a:solidFill>
                          <a:latin typeface="Verdana" charset="0"/>
                        </a:defRPr>
                      </a:lvl7pPr>
                      <a:lvl8pPr marL="3429000" indent="-228600" fontAlgn="base">
                        <a:spcBef>
                          <a:spcPct val="25000"/>
                        </a:spcBef>
                        <a:spcAft>
                          <a:spcPct val="0"/>
                        </a:spcAft>
                        <a:defRPr sz="1000">
                          <a:solidFill>
                            <a:schemeClr val="tx1"/>
                          </a:solidFill>
                          <a:latin typeface="Verdana" charset="0"/>
                        </a:defRPr>
                      </a:lvl8pPr>
                      <a:lvl9pPr marL="3886200" indent="-228600"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333333"/>
                          </a:solidFill>
                          <a:effectLst/>
                          <a:latin typeface="+mn-lt"/>
                          <a:ea typeface="ＭＳ Ｐゴシック" charset="-128"/>
                        </a:rPr>
                        <a:t>Konflikte mit Vorgesetzten, Kollegen</a:t>
                      </a:r>
                    </a:p>
                  </a:txBody>
                  <a:tcPr marL="91430" marR="91430" marT="45722" marB="4572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5EDF5"/>
                    </a:solidFill>
                  </a:tcPr>
                </a:tc>
                <a:extLst>
                  <a:ext uri="{0D108BD9-81ED-4DB2-BD59-A6C34878D82A}">
                    <a16:rowId xmlns:a16="http://schemas.microsoft.com/office/drawing/2014/main" val="10007"/>
                  </a:ext>
                </a:extLst>
              </a:tr>
            </a:tbl>
          </a:graphicData>
        </a:graphic>
      </p:graphicFrame>
      <p:sp>
        <p:nvSpPr>
          <p:cNvPr id="2" name="Rechteck 1">
            <a:extLst>
              <a:ext uri="{FF2B5EF4-FFF2-40B4-BE49-F238E27FC236}">
                <a16:creationId xmlns:a16="http://schemas.microsoft.com/office/drawing/2014/main" id="{57FAECBF-CF4E-4920-AF1E-AE427AFEC064}"/>
              </a:ext>
            </a:extLst>
          </p:cNvPr>
          <p:cNvSpPr/>
          <p:nvPr/>
        </p:nvSpPr>
        <p:spPr>
          <a:xfrm>
            <a:off x="9006269" y="5716588"/>
            <a:ext cx="1072730" cy="215444"/>
          </a:xfrm>
          <a:prstGeom prst="rect">
            <a:avLst/>
          </a:prstGeom>
        </p:spPr>
        <p:txBody>
          <a:bodyPr wrap="none">
            <a:spAutoFit/>
          </a:bodyPr>
          <a:lstStyle/>
          <a:p>
            <a:r>
              <a:rPr lang="de-DE" sz="800" dirty="0">
                <a:solidFill>
                  <a:schemeClr val="bg1">
                    <a:lumMod val="65000"/>
                  </a:schemeClr>
                </a:solidFill>
              </a:rPr>
              <a:t>© eigene Darstellung</a:t>
            </a:r>
            <a:endParaRPr lang="de-DE" sz="800" dirty="0"/>
          </a:p>
        </p:txBody>
      </p:sp>
    </p:spTree>
    <p:extLst>
      <p:ext uri="{BB962C8B-B14F-4D97-AF65-F5344CB8AC3E}">
        <p14:creationId xmlns:p14="http://schemas.microsoft.com/office/powerpoint/2010/main" val="343886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00</Words>
  <PresentationFormat>Breitbild</PresentationFormat>
  <Paragraphs>173</Paragraphs>
  <Slides>16</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0</vt:i4>
      </vt:variant>
      <vt:variant>
        <vt:lpstr>Folientitel</vt:lpstr>
      </vt:variant>
      <vt:variant>
        <vt:i4>16</vt:i4>
      </vt:variant>
    </vt:vector>
  </HeadingPairs>
  <TitlesOfParts>
    <vt:vector size="22" baseType="lpstr">
      <vt:lpstr>Arial</vt:lpstr>
      <vt:lpstr>Calibri</vt:lpstr>
      <vt:lpstr>Symbol</vt:lpstr>
      <vt:lpstr>Tahoma</vt:lpstr>
      <vt:lpstr>Wingdings</vt:lpstr>
      <vt:lpstr>TeachToProtect Unterweisung</vt:lpstr>
      <vt:lpstr>Psychische Belastung</vt:lpstr>
      <vt:lpstr>Definition</vt:lpstr>
      <vt:lpstr>Psychische Erkrankung: Daten und Fakten</vt:lpstr>
      <vt:lpstr>Psychische Gesundheit: Daten und Fakten</vt:lpstr>
      <vt:lpstr>Psychische Erkrankungen werden immer präsenter</vt:lpstr>
      <vt:lpstr>Risikofaktoren am Arbeitsplatz</vt:lpstr>
      <vt:lpstr>Arbeitsbedingter Stress bei der Arbeit</vt:lpstr>
      <vt:lpstr>Faktoren für Stress-Symptome am Arbeitsplatz </vt:lpstr>
      <vt:lpstr>Auswirkungen von Stress</vt:lpstr>
      <vt:lpstr>Akute körperliche Stressreaktionen</vt:lpstr>
      <vt:lpstr>Wie erkennt man eine psychische Belastung?</vt:lpstr>
      <vt:lpstr>Wie erkennt man eine psychische Belastung?</vt:lpstr>
      <vt:lpstr>Wie erkennt man eine psychische Belastung?</vt:lpstr>
      <vt:lpstr>Tipps zur Stressbewältigung</vt:lpstr>
      <vt:lpstr>Tipps zur Stressbewältigung</vt:lpstr>
      <vt:lpstr>Abschlussbotschaf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5-01-22T00:01:03Z</dcterms:created>
  <dcterms:modified xsi:type="dcterms:W3CDTF">2024-01-02T13:31:07Z</dcterms:modified>
</cp:coreProperties>
</file>